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4" r:id="rId5"/>
  </p:sldMasterIdLst>
  <p:notesMasterIdLst>
    <p:notesMasterId r:id="rId11"/>
  </p:notesMasterIdLst>
  <p:sldIdLst>
    <p:sldId id="372" r:id="rId6"/>
    <p:sldId id="381" r:id="rId7"/>
    <p:sldId id="387" r:id="rId8"/>
    <p:sldId id="419" r:id="rId9"/>
    <p:sldId id="418" r:id="rId10"/>
  </p:sldIdLst>
  <p:sldSz cx="9361488" cy="7200900"/>
  <p:notesSz cx="6858000" cy="9144000"/>
  <p:custDataLst>
    <p:tags r:id="rId12"/>
  </p:custDataLst>
  <p:defaultTextStyle>
    <a:defPPr>
      <a:defRPr lang="en-US"/>
    </a:defPPr>
    <a:lvl1pPr marL="0" algn="l" defTabSz="946158" rtl="0" eaLnBrk="1" latinLnBrk="0" hangingPunct="1">
      <a:defRPr sz="1900" kern="1200">
        <a:solidFill>
          <a:schemeClr val="tx1"/>
        </a:solidFill>
        <a:latin typeface="+mn-lt"/>
        <a:ea typeface="+mn-ea"/>
        <a:cs typeface="+mn-cs"/>
      </a:defRPr>
    </a:lvl1pPr>
    <a:lvl2pPr marL="473079" algn="l" defTabSz="946158" rtl="0" eaLnBrk="1" latinLnBrk="0" hangingPunct="1">
      <a:defRPr sz="1900" kern="1200">
        <a:solidFill>
          <a:schemeClr val="tx1"/>
        </a:solidFill>
        <a:latin typeface="+mn-lt"/>
        <a:ea typeface="+mn-ea"/>
        <a:cs typeface="+mn-cs"/>
      </a:defRPr>
    </a:lvl2pPr>
    <a:lvl3pPr marL="946158" algn="l" defTabSz="946158" rtl="0" eaLnBrk="1" latinLnBrk="0" hangingPunct="1">
      <a:defRPr sz="1900" kern="1200">
        <a:solidFill>
          <a:schemeClr val="tx1"/>
        </a:solidFill>
        <a:latin typeface="+mn-lt"/>
        <a:ea typeface="+mn-ea"/>
        <a:cs typeface="+mn-cs"/>
      </a:defRPr>
    </a:lvl3pPr>
    <a:lvl4pPr marL="1419239" algn="l" defTabSz="946158" rtl="0" eaLnBrk="1" latinLnBrk="0" hangingPunct="1">
      <a:defRPr sz="1900" kern="1200">
        <a:solidFill>
          <a:schemeClr val="tx1"/>
        </a:solidFill>
        <a:latin typeface="+mn-lt"/>
        <a:ea typeface="+mn-ea"/>
        <a:cs typeface="+mn-cs"/>
      </a:defRPr>
    </a:lvl4pPr>
    <a:lvl5pPr marL="1892316" algn="l" defTabSz="946158" rtl="0" eaLnBrk="1" latinLnBrk="0" hangingPunct="1">
      <a:defRPr sz="1900" kern="1200">
        <a:solidFill>
          <a:schemeClr val="tx1"/>
        </a:solidFill>
        <a:latin typeface="+mn-lt"/>
        <a:ea typeface="+mn-ea"/>
        <a:cs typeface="+mn-cs"/>
      </a:defRPr>
    </a:lvl5pPr>
    <a:lvl6pPr marL="2365395" algn="l" defTabSz="946158" rtl="0" eaLnBrk="1" latinLnBrk="0" hangingPunct="1">
      <a:defRPr sz="1900" kern="1200">
        <a:solidFill>
          <a:schemeClr val="tx1"/>
        </a:solidFill>
        <a:latin typeface="+mn-lt"/>
        <a:ea typeface="+mn-ea"/>
        <a:cs typeface="+mn-cs"/>
      </a:defRPr>
    </a:lvl6pPr>
    <a:lvl7pPr marL="2838475" algn="l" defTabSz="946158" rtl="0" eaLnBrk="1" latinLnBrk="0" hangingPunct="1">
      <a:defRPr sz="1900" kern="1200">
        <a:solidFill>
          <a:schemeClr val="tx1"/>
        </a:solidFill>
        <a:latin typeface="+mn-lt"/>
        <a:ea typeface="+mn-ea"/>
        <a:cs typeface="+mn-cs"/>
      </a:defRPr>
    </a:lvl7pPr>
    <a:lvl8pPr marL="3311555" algn="l" defTabSz="946158" rtl="0" eaLnBrk="1" latinLnBrk="0" hangingPunct="1">
      <a:defRPr sz="1900" kern="1200">
        <a:solidFill>
          <a:schemeClr val="tx1"/>
        </a:solidFill>
        <a:latin typeface="+mn-lt"/>
        <a:ea typeface="+mn-ea"/>
        <a:cs typeface="+mn-cs"/>
      </a:defRPr>
    </a:lvl8pPr>
    <a:lvl9pPr marL="3784635" algn="l" defTabSz="946158"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71">
          <p15:clr>
            <a:srgbClr val="A4A3A4"/>
          </p15:clr>
        </p15:guide>
        <p15:guide id="2" orient="horz" pos="1225">
          <p15:clr>
            <a:srgbClr val="A4A3A4"/>
          </p15:clr>
        </p15:guide>
        <p15:guide id="3" orient="horz" pos="1300">
          <p15:clr>
            <a:srgbClr val="A4A3A4"/>
          </p15:clr>
        </p15:guide>
        <p15:guide id="4" orient="horz" pos="1769">
          <p15:clr>
            <a:srgbClr val="A4A3A4"/>
          </p15:clr>
        </p15:guide>
        <p15:guide id="5" orient="horz" pos="1860">
          <p15:clr>
            <a:srgbClr val="A4A3A4"/>
          </p15:clr>
        </p15:guide>
        <p15:guide id="6" orient="horz" pos="2315">
          <p15:clr>
            <a:srgbClr val="A4A3A4"/>
          </p15:clr>
        </p15:guide>
        <p15:guide id="7" orient="horz" pos="2404">
          <p15:clr>
            <a:srgbClr val="A4A3A4"/>
          </p15:clr>
        </p15:guide>
        <p15:guide id="8" orient="horz" pos="2863">
          <p15:clr>
            <a:srgbClr val="A4A3A4"/>
          </p15:clr>
        </p15:guide>
        <p15:guide id="9" orient="horz" pos="2943">
          <p15:clr>
            <a:srgbClr val="A4A3A4"/>
          </p15:clr>
        </p15:guide>
        <p15:guide id="10" orient="horz" pos="3402">
          <p15:clr>
            <a:srgbClr val="A4A3A4"/>
          </p15:clr>
        </p15:guide>
        <p15:guide id="11" orient="horz" pos="3490">
          <p15:clr>
            <a:srgbClr val="A4A3A4"/>
          </p15:clr>
        </p15:guide>
        <p15:guide id="12" orient="horz" pos="3958">
          <p15:clr>
            <a:srgbClr val="A4A3A4"/>
          </p15:clr>
        </p15:guide>
        <p15:guide id="13" pos="136">
          <p15:clr>
            <a:srgbClr val="A4A3A4"/>
          </p15:clr>
        </p15:guide>
        <p15:guide id="14" pos="589">
          <p15:clr>
            <a:srgbClr val="A4A3A4"/>
          </p15:clr>
        </p15:guide>
        <p15:guide id="15" pos="680">
          <p15:clr>
            <a:srgbClr val="A4A3A4"/>
          </p15:clr>
        </p15:guide>
        <p15:guide id="16" pos="998">
          <p15:clr>
            <a:srgbClr val="A4A3A4"/>
          </p15:clr>
        </p15:guide>
        <p15:guide id="17" pos="1143">
          <p15:clr>
            <a:srgbClr val="A4A3A4"/>
          </p15:clr>
        </p15:guide>
        <p15:guide id="18" pos="1524">
          <p15:clr>
            <a:srgbClr val="A4A3A4"/>
          </p15:clr>
        </p15:guide>
        <p15:guide id="19" pos="1604">
          <p15:clr>
            <a:srgbClr val="A4A3A4"/>
          </p15:clr>
        </p15:guide>
        <p15:guide id="20" pos="1995">
          <p15:clr>
            <a:srgbClr val="A4A3A4"/>
          </p15:clr>
        </p15:guide>
        <p15:guide id="21" pos="2066">
          <p15:clr>
            <a:srgbClr val="A4A3A4"/>
          </p15:clr>
        </p15:guide>
        <p15:guide id="22" pos="2448">
          <p15:clr>
            <a:srgbClr val="A4A3A4"/>
          </p15:clr>
        </p15:guide>
        <p15:guide id="23" pos="2528">
          <p15:clr>
            <a:srgbClr val="A4A3A4"/>
          </p15:clr>
        </p15:guide>
        <p15:guide id="24" pos="2909">
          <p15:clr>
            <a:srgbClr val="A4A3A4"/>
          </p15:clr>
        </p15:guide>
        <p15:guide id="25" pos="2989">
          <p15:clr>
            <a:srgbClr val="A4A3A4"/>
          </p15:clr>
        </p15:guide>
        <p15:guide id="26" pos="3370">
          <p15:clr>
            <a:srgbClr val="A4A3A4"/>
          </p15:clr>
        </p15:guide>
        <p15:guide id="27" pos="3450">
          <p15:clr>
            <a:srgbClr val="A4A3A4"/>
          </p15:clr>
        </p15:guide>
        <p15:guide id="28" pos="3832">
          <p15:clr>
            <a:srgbClr val="A4A3A4"/>
          </p15:clr>
        </p15:guide>
        <p15:guide id="29" pos="3912">
          <p15:clr>
            <a:srgbClr val="A4A3A4"/>
          </p15:clr>
        </p15:guide>
        <p15:guide id="30" pos="4294">
          <p15:clr>
            <a:srgbClr val="A4A3A4"/>
          </p15:clr>
        </p15:guide>
        <p15:guide id="31" pos="4374">
          <p15:clr>
            <a:srgbClr val="A4A3A4"/>
          </p15:clr>
        </p15:guide>
        <p15:guide id="32" pos="4755">
          <p15:clr>
            <a:srgbClr val="A4A3A4"/>
          </p15:clr>
        </p15:guide>
        <p15:guide id="33" pos="4835">
          <p15:clr>
            <a:srgbClr val="A4A3A4"/>
          </p15:clr>
        </p15:guide>
        <p15:guide id="34" pos="5216">
          <p15:clr>
            <a:srgbClr val="A4A3A4"/>
          </p15:clr>
        </p15:guide>
        <p15:guide id="35" pos="5296">
          <p15:clr>
            <a:srgbClr val="A4A3A4"/>
          </p15:clr>
        </p15:guide>
        <p15:guide id="36" pos="567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5A9B"/>
    <a:srgbClr val="3C9146"/>
    <a:srgbClr val="6473AF"/>
    <a:srgbClr val="78848A"/>
    <a:srgbClr val="DC7D32"/>
    <a:srgbClr val="DC7D1E"/>
    <a:srgbClr val="DCDC1E"/>
    <a:srgbClr val="28A5C3"/>
    <a:srgbClr val="82A44A"/>
    <a:srgbClr val="4BC8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1" autoAdjust="0"/>
    <p:restoredTop sz="94676" autoAdjust="0"/>
  </p:normalViewPr>
  <p:slideViewPr>
    <p:cSldViewPr showGuides="1">
      <p:cViewPr varScale="1">
        <p:scale>
          <a:sx n="103" d="100"/>
          <a:sy n="103" d="100"/>
        </p:scale>
        <p:origin x="1068" y="114"/>
      </p:cViewPr>
      <p:guideLst>
        <p:guide orient="horz" pos="771"/>
        <p:guide orient="horz" pos="1225"/>
        <p:guide orient="horz" pos="1300"/>
        <p:guide orient="horz" pos="1769"/>
        <p:guide orient="horz" pos="1860"/>
        <p:guide orient="horz" pos="2315"/>
        <p:guide orient="horz" pos="2404"/>
        <p:guide orient="horz" pos="2863"/>
        <p:guide orient="horz" pos="2943"/>
        <p:guide orient="horz" pos="3402"/>
        <p:guide orient="horz" pos="3490"/>
        <p:guide orient="horz" pos="3958"/>
        <p:guide pos="136"/>
        <p:guide pos="589"/>
        <p:guide pos="680"/>
        <p:guide pos="998"/>
        <p:guide pos="1143"/>
        <p:guide pos="1524"/>
        <p:guide pos="1604"/>
        <p:guide pos="1995"/>
        <p:guide pos="2066"/>
        <p:guide pos="2448"/>
        <p:guide pos="2528"/>
        <p:guide pos="2909"/>
        <p:guide pos="2989"/>
        <p:guide pos="3370"/>
        <p:guide pos="3450"/>
        <p:guide pos="3832"/>
        <p:guide pos="3912"/>
        <p:guide pos="4294"/>
        <p:guide pos="4374"/>
        <p:guide pos="4755"/>
        <p:guide pos="4835"/>
        <p:guide pos="5216"/>
        <p:guide pos="5296"/>
        <p:guide pos="5670"/>
      </p:guideLst>
    </p:cSldViewPr>
  </p:slideViewPr>
  <p:notesTextViewPr>
    <p:cViewPr>
      <p:scale>
        <a:sx n="1" d="1"/>
        <a:sy n="1" d="1"/>
      </p:scale>
      <p:origin x="0" y="0"/>
    </p:cViewPr>
  </p:notesTextViewPr>
  <p:sorterViewPr>
    <p:cViewPr>
      <p:scale>
        <a:sx n="100" d="100"/>
        <a:sy n="100" d="100"/>
      </p:scale>
      <p:origin x="0" y="0"/>
    </p:cViewPr>
  </p:sorterViewPr>
  <p:notesViewPr>
    <p:cSldViewPr showGuides="1">
      <p:cViewPr varScale="1">
        <p:scale>
          <a:sx n="95" d="100"/>
          <a:sy n="95" d="100"/>
        </p:scale>
        <p:origin x="-3582" y="-9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notesMaster" Target="notesMasters/notesMaster1.xml"/><Relationship Id="rId5" Type="http://schemas.openxmlformats.org/officeDocument/2006/relationships/slideMaster" Target="slideMasters/slideMaster1.xml"/><Relationship Id="rId15" Type="http://schemas.openxmlformats.org/officeDocument/2006/relationships/theme" Target="theme/theme1.xml"/><Relationship Id="rId10" Type="http://schemas.openxmlformats.org/officeDocument/2006/relationships/slide" Target="slides/slide5.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AE6B21B-7A17-4250-A996-071E88CF9932}" type="datetimeFigureOut">
              <a:rPr lang="en-GB" smtClean="0"/>
              <a:t>02/05/2017</a:t>
            </a:fld>
            <a:endParaRPr lang="en-GB"/>
          </a:p>
        </p:txBody>
      </p:sp>
      <p:sp>
        <p:nvSpPr>
          <p:cNvPr id="4" name="Slide Image Placeholder 3"/>
          <p:cNvSpPr>
            <a:spLocks noGrp="1" noRot="1" noChangeAspect="1"/>
          </p:cNvSpPr>
          <p:nvPr>
            <p:ph type="sldImg" idx="2"/>
          </p:nvPr>
        </p:nvSpPr>
        <p:spPr>
          <a:xfrm>
            <a:off x="1200150" y="685800"/>
            <a:ext cx="44577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7FA2FBD-0BCC-4D84-A187-DAE0B68E4387}" type="slidenum">
              <a:rPr lang="en-GB" smtClean="0"/>
              <a:t>‹N°›</a:t>
            </a:fld>
            <a:endParaRPr lang="en-GB"/>
          </a:p>
        </p:txBody>
      </p:sp>
    </p:spTree>
    <p:extLst>
      <p:ext uri="{BB962C8B-B14F-4D97-AF65-F5344CB8AC3E}">
        <p14:creationId xmlns:p14="http://schemas.microsoft.com/office/powerpoint/2010/main" val="1799812970"/>
      </p:ext>
    </p:extLst>
  </p:cSld>
  <p:clrMap bg1="lt1" tx1="dk1" bg2="lt2" tx2="dk2" accent1="accent1" accent2="accent2" accent3="accent3" accent4="accent4" accent5="accent5" accent6="accent6" hlink="hlink" folHlink="folHlink"/>
  <p:notesStyle>
    <a:lvl1pPr marL="0" algn="l" defTabSz="914163" rtl="0" eaLnBrk="1" latinLnBrk="0" hangingPunct="1">
      <a:defRPr sz="1200" kern="1200">
        <a:solidFill>
          <a:schemeClr val="tx1"/>
        </a:solidFill>
        <a:latin typeface="+mn-lt"/>
        <a:ea typeface="+mn-ea"/>
        <a:cs typeface="+mn-cs"/>
      </a:defRPr>
    </a:lvl1pPr>
    <a:lvl2pPr marL="457082" algn="l" defTabSz="914163" rtl="0" eaLnBrk="1" latinLnBrk="0" hangingPunct="1">
      <a:defRPr sz="1200" kern="1200">
        <a:solidFill>
          <a:schemeClr val="tx1"/>
        </a:solidFill>
        <a:latin typeface="+mn-lt"/>
        <a:ea typeface="+mn-ea"/>
        <a:cs typeface="+mn-cs"/>
      </a:defRPr>
    </a:lvl2pPr>
    <a:lvl3pPr marL="914163" algn="l" defTabSz="914163" rtl="0" eaLnBrk="1" latinLnBrk="0" hangingPunct="1">
      <a:defRPr sz="1200" kern="1200">
        <a:solidFill>
          <a:schemeClr val="tx1"/>
        </a:solidFill>
        <a:latin typeface="+mn-lt"/>
        <a:ea typeface="+mn-ea"/>
        <a:cs typeface="+mn-cs"/>
      </a:defRPr>
    </a:lvl3pPr>
    <a:lvl4pPr marL="1371246" algn="l" defTabSz="914163" rtl="0" eaLnBrk="1" latinLnBrk="0" hangingPunct="1">
      <a:defRPr sz="1200" kern="1200">
        <a:solidFill>
          <a:schemeClr val="tx1"/>
        </a:solidFill>
        <a:latin typeface="+mn-lt"/>
        <a:ea typeface="+mn-ea"/>
        <a:cs typeface="+mn-cs"/>
      </a:defRPr>
    </a:lvl4pPr>
    <a:lvl5pPr marL="1828325" algn="l" defTabSz="914163" rtl="0" eaLnBrk="1" latinLnBrk="0" hangingPunct="1">
      <a:defRPr sz="1200" kern="1200">
        <a:solidFill>
          <a:schemeClr val="tx1"/>
        </a:solidFill>
        <a:latin typeface="+mn-lt"/>
        <a:ea typeface="+mn-ea"/>
        <a:cs typeface="+mn-cs"/>
      </a:defRPr>
    </a:lvl5pPr>
    <a:lvl6pPr marL="2285407" algn="l" defTabSz="914163" rtl="0" eaLnBrk="1" latinLnBrk="0" hangingPunct="1">
      <a:defRPr sz="1200" kern="1200">
        <a:solidFill>
          <a:schemeClr val="tx1"/>
        </a:solidFill>
        <a:latin typeface="+mn-lt"/>
        <a:ea typeface="+mn-ea"/>
        <a:cs typeface="+mn-cs"/>
      </a:defRPr>
    </a:lvl6pPr>
    <a:lvl7pPr marL="2742489" algn="l" defTabSz="914163" rtl="0" eaLnBrk="1" latinLnBrk="0" hangingPunct="1">
      <a:defRPr sz="1200" kern="1200">
        <a:solidFill>
          <a:schemeClr val="tx1"/>
        </a:solidFill>
        <a:latin typeface="+mn-lt"/>
        <a:ea typeface="+mn-ea"/>
        <a:cs typeface="+mn-cs"/>
      </a:defRPr>
    </a:lvl7pPr>
    <a:lvl8pPr marL="3199569" algn="l" defTabSz="914163" rtl="0" eaLnBrk="1" latinLnBrk="0" hangingPunct="1">
      <a:defRPr sz="1200" kern="1200">
        <a:solidFill>
          <a:schemeClr val="tx1"/>
        </a:solidFill>
        <a:latin typeface="+mn-lt"/>
        <a:ea typeface="+mn-ea"/>
        <a:cs typeface="+mn-cs"/>
      </a:defRPr>
    </a:lvl8pPr>
    <a:lvl9pPr marL="3656651" algn="l" defTabSz="914163"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200" y="122400"/>
            <a:ext cx="8665200" cy="745200"/>
          </a:xfrm>
        </p:spPr>
        <p:txBody>
          <a:bodyPr lIns="0" tIns="0" rIns="0" bIns="0">
            <a:noAutofit/>
          </a:bodyPr>
          <a:lstStyle>
            <a:lvl1pPr algn="l">
              <a:defRPr sz="2800" b="1">
                <a:solidFill>
                  <a:schemeClr val="tx2"/>
                </a:solidFill>
              </a:defRPr>
            </a:lvl1pPr>
          </a:lstStyle>
          <a:p>
            <a:r>
              <a:rPr lang="en-US" dirty="0"/>
              <a:t>Click to edit Master title style</a:t>
            </a:r>
            <a:endParaRPr lang="en-GB" dirty="0"/>
          </a:p>
        </p:txBody>
      </p:sp>
      <p:sp>
        <p:nvSpPr>
          <p:cNvPr id="20" name="Footer Placeholder 4"/>
          <p:cNvSpPr>
            <a:spLocks noGrp="1"/>
          </p:cNvSpPr>
          <p:nvPr>
            <p:ph type="ftr" sz="quarter" idx="3"/>
          </p:nvPr>
        </p:nvSpPr>
        <p:spPr>
          <a:xfrm>
            <a:off x="5734803" y="6714000"/>
            <a:ext cx="2062800" cy="190800"/>
          </a:xfrm>
          <a:prstGeom prst="rect">
            <a:avLst/>
          </a:prstGeom>
        </p:spPr>
        <p:txBody>
          <a:bodyPr vert="horz" lIns="0" tIns="0" rIns="0" bIns="0" rtlCol="0" anchor="ctr"/>
          <a:lstStyle>
            <a:lvl1pPr algn="r">
              <a:defRPr sz="800">
                <a:solidFill>
                  <a:schemeClr val="tx1"/>
                </a:solidFill>
              </a:defRPr>
            </a:lvl1pPr>
          </a:lstStyle>
          <a:p>
            <a:endParaRPr lang="en-GB" dirty="0"/>
          </a:p>
        </p:txBody>
      </p:sp>
      <p:sp>
        <p:nvSpPr>
          <p:cNvPr id="22" name="Rectangle 14"/>
          <p:cNvSpPr>
            <a:spLocks noGrp="1" noChangeArrowheads="1"/>
          </p:cNvSpPr>
          <p:nvPr>
            <p:ph type="dt" sz="half" idx="2"/>
          </p:nvPr>
        </p:nvSpPr>
        <p:spPr bwMode="auto">
          <a:xfrm>
            <a:off x="7852785" y="6715338"/>
            <a:ext cx="725408" cy="189000"/>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ctr">
              <a:defRPr sz="800">
                <a:solidFill>
                  <a:schemeClr val="tx1"/>
                </a:solidFill>
              </a:defRPr>
            </a:lvl1pPr>
          </a:lstStyle>
          <a:p>
            <a:r>
              <a:rPr lang="en-US"/>
              <a:t>|  00/00/0000  |</a:t>
            </a:r>
            <a:endParaRPr lang="en-GB" dirty="0"/>
          </a:p>
        </p:txBody>
      </p:sp>
      <p:sp>
        <p:nvSpPr>
          <p:cNvPr id="23" name="Espace réservé du numéro de diapositive 16"/>
          <p:cNvSpPr>
            <a:spLocks noGrp="1" noChangeArrowheads="1"/>
          </p:cNvSpPr>
          <p:nvPr>
            <p:ph type="sldNum" sz="quarter" idx="4"/>
          </p:nvPr>
        </p:nvSpPr>
        <p:spPr bwMode="auto">
          <a:xfrm>
            <a:off x="8568841" y="6715338"/>
            <a:ext cx="184281" cy="189000"/>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r">
              <a:defRPr sz="800" b="1">
                <a:solidFill>
                  <a:schemeClr val="tx1"/>
                </a:solidFill>
              </a:defRPr>
            </a:lvl1pPr>
          </a:lstStyle>
          <a:p>
            <a:fld id="{BF6629C6-E8D8-4E6B-8015-798ECD15B16B}" type="slidenum">
              <a:rPr lang="en-GB" smtClean="0"/>
              <a:pPr/>
              <a:t>‹N°›</a:t>
            </a:fld>
            <a:endParaRPr lang="en-GB" dirty="0"/>
          </a:p>
        </p:txBody>
      </p:sp>
      <p:cxnSp>
        <p:nvCxnSpPr>
          <p:cNvPr id="24" name="Connecteur droit 14"/>
          <p:cNvCxnSpPr/>
          <p:nvPr/>
        </p:nvCxnSpPr>
        <p:spPr>
          <a:xfrm>
            <a:off x="350726" y="6407562"/>
            <a:ext cx="86612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Content Placeholder 2"/>
          <p:cNvSpPr>
            <a:spLocks noGrp="1"/>
          </p:cNvSpPr>
          <p:nvPr>
            <p:ph sz="half" idx="15" hasCustomPrompt="1"/>
          </p:nvPr>
        </p:nvSpPr>
        <p:spPr>
          <a:xfrm>
            <a:off x="343927" y="1193800"/>
            <a:ext cx="8668018" cy="4752975"/>
          </a:xfrm>
          <a:prstGeom prst="rect">
            <a:avLst/>
          </a:prstGeom>
        </p:spPr>
        <p:txBody>
          <a:bodyPr lIns="0" tIns="0" rIns="0" bIns="0"/>
          <a:lstStyle>
            <a:lvl1pPr marL="227013" indent="-227013">
              <a:buClr>
                <a:srgbClr val="3F803F"/>
              </a:buClr>
              <a:buSzPct val="120000"/>
              <a:buFont typeface="Wingdings" panose="05000000000000000000" pitchFamily="2" charset="2"/>
              <a:buChar char="§"/>
              <a:defRPr sz="1800">
                <a:latin typeface="Arial" panose="020B0604020202020204" pitchFamily="34" charset="0"/>
                <a:cs typeface="Arial" panose="020B0604020202020204" pitchFamily="34" charset="0"/>
              </a:defRPr>
            </a:lvl1pPr>
            <a:lvl2pPr marL="461963" indent="-234950">
              <a:buClr>
                <a:srgbClr val="FF8141"/>
              </a:buClr>
              <a:buSzPct val="120000"/>
              <a:buFont typeface="Wingdings" panose="05000000000000000000" pitchFamily="2" charset="2"/>
              <a:buChar char="§"/>
              <a:defRPr sz="1600"/>
            </a:lvl2pPr>
            <a:lvl3pPr marL="687388" indent="-225425">
              <a:buClr>
                <a:schemeClr val="tx1"/>
              </a:buClr>
              <a:buSzPct val="120000"/>
              <a:buFont typeface="Wingdings" panose="05000000000000000000" pitchFamily="2" charset="2"/>
              <a:buChar char="§"/>
              <a:defRPr sz="1400"/>
            </a:lvl3pPr>
            <a:lvl4pPr marL="914400" indent="-227013">
              <a:tabLst/>
              <a:defRPr sz="1200"/>
            </a:lvl4pPr>
            <a:lvl5pPr marL="1141413" indent="-227013">
              <a:defRPr sz="1050"/>
            </a:lvl5pPr>
            <a:lvl6pPr>
              <a:defRPr sz="1800"/>
            </a:lvl6pPr>
            <a:lvl7pPr>
              <a:defRPr sz="1800"/>
            </a:lvl7pPr>
            <a:lvl8pPr>
              <a:defRPr sz="1800"/>
            </a:lvl8pPr>
            <a:lvl9pPr>
              <a:defRPr sz="1800"/>
            </a:lvl9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345903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cSld name="BNP Paribas Cover">
    <p:spTree>
      <p:nvGrpSpPr>
        <p:cNvPr id="1" name=""/>
        <p:cNvGrpSpPr/>
        <p:nvPr/>
      </p:nvGrpSpPr>
      <p:grpSpPr>
        <a:xfrm>
          <a:off x="0" y="0"/>
          <a:ext cx="0" cy="0"/>
          <a:chOff x="0" y="0"/>
          <a:chExt cx="0" cy="0"/>
        </a:xfrm>
      </p:grpSpPr>
      <p:pic>
        <p:nvPicPr>
          <p:cNvPr id="10" name="Image 9" descr="fond.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9361488" cy="5587999"/>
          </a:xfrm>
          <a:prstGeom prst="rect">
            <a:avLst/>
          </a:prstGeom>
        </p:spPr>
      </p:pic>
      <p:sp>
        <p:nvSpPr>
          <p:cNvPr id="8" name="Titre 1"/>
          <p:cNvSpPr>
            <a:spLocks noGrp="1"/>
          </p:cNvSpPr>
          <p:nvPr>
            <p:ph type="ctrTitle" hasCustomPrompt="1"/>
          </p:nvPr>
        </p:nvSpPr>
        <p:spPr>
          <a:xfrm>
            <a:off x="399484" y="268368"/>
            <a:ext cx="5455331" cy="907200"/>
          </a:xfrm>
        </p:spPr>
        <p:txBody>
          <a:bodyPr lIns="0" tIns="0" rIns="0" anchor="t">
            <a:noAutofit/>
          </a:bodyPr>
          <a:lstStyle>
            <a:lvl1pPr algn="l">
              <a:lnSpc>
                <a:spcPct val="85000"/>
              </a:lnSpc>
              <a:defRPr sz="3700" b="1" cap="all" baseline="0">
                <a:solidFill>
                  <a:schemeClr val="tx1"/>
                </a:solidFill>
              </a:defRPr>
            </a:lvl1pPr>
          </a:lstStyle>
          <a:p>
            <a:r>
              <a:rPr lang="en-GB" noProof="0" dirty="0"/>
              <a:t>presentation title </a:t>
            </a:r>
            <a:br>
              <a:rPr lang="en-GB" noProof="0" dirty="0"/>
            </a:br>
            <a:r>
              <a:rPr lang="en-GB" noProof="0" dirty="0"/>
              <a:t>on multi-lines</a:t>
            </a:r>
          </a:p>
        </p:txBody>
      </p:sp>
      <p:sp>
        <p:nvSpPr>
          <p:cNvPr id="9" name="Sous-titre 2"/>
          <p:cNvSpPr>
            <a:spLocks noGrp="1"/>
          </p:cNvSpPr>
          <p:nvPr>
            <p:ph type="subTitle" idx="1" hasCustomPrompt="1"/>
          </p:nvPr>
        </p:nvSpPr>
        <p:spPr>
          <a:xfrm>
            <a:off x="399484" y="1200984"/>
            <a:ext cx="5454725" cy="453600"/>
          </a:xfrm>
          <a:prstGeom prst="rect">
            <a:avLst/>
          </a:prstGeom>
        </p:spPr>
        <p:txBody>
          <a:bodyPr lIns="0" tIns="0" rIns="0" bIns="0" anchor="ctr">
            <a:noAutofit/>
          </a:bodyPr>
          <a:lstStyle>
            <a:lvl1pPr marL="0" indent="0" algn="l">
              <a:buNone/>
              <a:defRPr sz="2600" cap="all" baseline="0">
                <a:solidFill>
                  <a:schemeClr val="tx1"/>
                </a:solidFill>
                <a:latin typeface="+mj-lt"/>
              </a:defRPr>
            </a:lvl1pPr>
            <a:lvl2pPr marL="473079" indent="0" algn="ctr">
              <a:buNone/>
              <a:defRPr>
                <a:solidFill>
                  <a:schemeClr val="tx1">
                    <a:tint val="75000"/>
                  </a:schemeClr>
                </a:solidFill>
              </a:defRPr>
            </a:lvl2pPr>
            <a:lvl3pPr marL="946158" indent="0" algn="ctr">
              <a:buNone/>
              <a:defRPr>
                <a:solidFill>
                  <a:schemeClr val="tx1">
                    <a:tint val="75000"/>
                  </a:schemeClr>
                </a:solidFill>
              </a:defRPr>
            </a:lvl3pPr>
            <a:lvl4pPr marL="1419239" indent="0" algn="ctr">
              <a:buNone/>
              <a:defRPr>
                <a:solidFill>
                  <a:schemeClr val="tx1">
                    <a:tint val="75000"/>
                  </a:schemeClr>
                </a:solidFill>
              </a:defRPr>
            </a:lvl4pPr>
            <a:lvl5pPr marL="1892316" indent="0" algn="ctr">
              <a:buNone/>
              <a:defRPr>
                <a:solidFill>
                  <a:schemeClr val="tx1">
                    <a:tint val="75000"/>
                  </a:schemeClr>
                </a:solidFill>
              </a:defRPr>
            </a:lvl5pPr>
            <a:lvl6pPr marL="2365395" indent="0" algn="ctr">
              <a:buNone/>
              <a:defRPr>
                <a:solidFill>
                  <a:schemeClr val="tx1">
                    <a:tint val="75000"/>
                  </a:schemeClr>
                </a:solidFill>
              </a:defRPr>
            </a:lvl6pPr>
            <a:lvl7pPr marL="2838475" indent="0" algn="ctr">
              <a:buNone/>
              <a:defRPr>
                <a:solidFill>
                  <a:schemeClr val="tx1">
                    <a:tint val="75000"/>
                  </a:schemeClr>
                </a:solidFill>
              </a:defRPr>
            </a:lvl7pPr>
            <a:lvl8pPr marL="3311555" indent="0" algn="ctr">
              <a:buNone/>
              <a:defRPr>
                <a:solidFill>
                  <a:schemeClr val="tx1">
                    <a:tint val="75000"/>
                  </a:schemeClr>
                </a:solidFill>
              </a:defRPr>
            </a:lvl8pPr>
            <a:lvl9pPr marL="3784635" indent="0" algn="ctr">
              <a:buNone/>
              <a:defRPr>
                <a:solidFill>
                  <a:schemeClr val="tx1">
                    <a:tint val="75000"/>
                  </a:schemeClr>
                </a:solidFill>
              </a:defRPr>
            </a:lvl9pPr>
          </a:lstStyle>
          <a:p>
            <a:r>
              <a:rPr lang="en-GB" noProof="0" dirty="0"/>
              <a:t>subtitle</a:t>
            </a:r>
          </a:p>
        </p:txBody>
      </p:sp>
      <p:pic>
        <p:nvPicPr>
          <p:cNvPr id="13" name="Picture 4" descr="C:\Users\ChristineB\Seenk-D\BNPP\2015-02\PPT_43-06.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32689" y="6105527"/>
            <a:ext cx="2959100" cy="612775"/>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1097685" y="5273836"/>
            <a:ext cx="3575056" cy="633494"/>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4616" tIns="93125" rIns="94616" bIns="93125" numCol="1" spcCol="0" rtlCol="0" fromWordArt="0" anchor="ctr" anchorCtr="0" forceAA="0" compatLnSpc="1">
            <a:prstTxWarp prst="textNoShape">
              <a:avLst/>
            </a:prstTxWarp>
            <a:noAutofit/>
          </a:bodyPr>
          <a:lstStyle/>
          <a:p>
            <a:pPr algn="ctr"/>
            <a:endParaRPr lang="en-GB" sz="1000" dirty="0">
              <a:solidFill>
                <a:schemeClr val="tx2"/>
              </a:solidFill>
            </a:endParaRPr>
          </a:p>
        </p:txBody>
      </p:sp>
      <p:sp>
        <p:nvSpPr>
          <p:cNvPr id="15" name="Espace réservé du texte 2"/>
          <p:cNvSpPr>
            <a:spLocks noGrp="1"/>
          </p:cNvSpPr>
          <p:nvPr>
            <p:ph type="body" idx="13" hasCustomPrompt="1"/>
          </p:nvPr>
        </p:nvSpPr>
        <p:spPr>
          <a:xfrm>
            <a:off x="1260338" y="5367776"/>
            <a:ext cx="3243350" cy="226800"/>
          </a:xfrm>
          <a:prstGeom prst="rect">
            <a:avLst/>
          </a:prstGeom>
        </p:spPr>
        <p:txBody>
          <a:bodyPr lIns="0" tIns="0" rIns="0" bIns="0" anchor="ctr">
            <a:noAutofit/>
          </a:bodyPr>
          <a:lstStyle>
            <a:lvl1pPr marL="0" indent="0" algn="l">
              <a:buNone/>
              <a:defRPr sz="1400" b="0" cap="all" baseline="0">
                <a:solidFill>
                  <a:schemeClr val="bg1"/>
                </a:solidFill>
              </a:defRPr>
            </a:lvl1pPr>
            <a:lvl2pPr marL="473079" indent="0">
              <a:buNone/>
              <a:defRPr sz="2100" b="1"/>
            </a:lvl2pPr>
            <a:lvl3pPr marL="946158" indent="0">
              <a:buNone/>
              <a:defRPr sz="1900" b="1"/>
            </a:lvl3pPr>
            <a:lvl4pPr marL="1419239" indent="0">
              <a:buNone/>
              <a:defRPr sz="1700" b="1"/>
            </a:lvl4pPr>
            <a:lvl5pPr marL="1892316" indent="0">
              <a:buNone/>
              <a:defRPr sz="1700" b="1"/>
            </a:lvl5pPr>
            <a:lvl6pPr marL="2365395" indent="0">
              <a:buNone/>
              <a:defRPr sz="1700" b="1"/>
            </a:lvl6pPr>
            <a:lvl7pPr marL="2838475" indent="0">
              <a:buNone/>
              <a:defRPr sz="1700" b="1"/>
            </a:lvl7pPr>
            <a:lvl8pPr marL="3311555" indent="0">
              <a:buNone/>
              <a:defRPr sz="1700" b="1"/>
            </a:lvl8pPr>
            <a:lvl9pPr marL="3784635" indent="0">
              <a:buNone/>
              <a:defRPr sz="1700" b="1"/>
            </a:lvl9pPr>
          </a:lstStyle>
          <a:p>
            <a:r>
              <a:rPr lang="en-GB" noProof="0" dirty="0"/>
              <a:t>author’s name</a:t>
            </a:r>
          </a:p>
        </p:txBody>
      </p:sp>
      <p:sp>
        <p:nvSpPr>
          <p:cNvPr id="16" name="Espace réservé du texte 2"/>
          <p:cNvSpPr>
            <a:spLocks noGrp="1"/>
          </p:cNvSpPr>
          <p:nvPr>
            <p:ph type="body" idx="14" hasCustomPrompt="1"/>
          </p:nvPr>
        </p:nvSpPr>
        <p:spPr>
          <a:xfrm>
            <a:off x="1260338" y="5602472"/>
            <a:ext cx="3243350" cy="226800"/>
          </a:xfrm>
          <a:prstGeom prst="rect">
            <a:avLst/>
          </a:prstGeom>
        </p:spPr>
        <p:txBody>
          <a:bodyPr lIns="0" tIns="0" rIns="0" bIns="0" anchor="ctr">
            <a:noAutofit/>
          </a:bodyPr>
          <a:lstStyle>
            <a:lvl1pPr marL="0" indent="0" algn="l">
              <a:buNone/>
              <a:defRPr sz="1200" b="0">
                <a:solidFill>
                  <a:schemeClr val="bg1"/>
                </a:solidFill>
              </a:defRPr>
            </a:lvl1pPr>
            <a:lvl2pPr marL="473079" indent="0">
              <a:buNone/>
              <a:defRPr sz="2100" b="1"/>
            </a:lvl2pPr>
            <a:lvl3pPr marL="946158" indent="0">
              <a:buNone/>
              <a:defRPr sz="1900" b="1"/>
            </a:lvl3pPr>
            <a:lvl4pPr marL="1419239" indent="0">
              <a:buNone/>
              <a:defRPr sz="1700" b="1"/>
            </a:lvl4pPr>
            <a:lvl5pPr marL="1892316" indent="0">
              <a:buNone/>
              <a:defRPr sz="1700" b="1"/>
            </a:lvl5pPr>
            <a:lvl6pPr marL="2365395" indent="0">
              <a:buNone/>
              <a:defRPr sz="1700" b="1"/>
            </a:lvl6pPr>
            <a:lvl7pPr marL="2838475" indent="0">
              <a:buNone/>
              <a:defRPr sz="1700" b="1"/>
            </a:lvl7pPr>
            <a:lvl8pPr marL="3311555" indent="0">
              <a:buNone/>
              <a:defRPr sz="1700" b="1"/>
            </a:lvl8pPr>
            <a:lvl9pPr marL="3784635" indent="0">
              <a:buNone/>
              <a:defRPr sz="1700" b="1"/>
            </a:lvl9pPr>
          </a:lstStyle>
          <a:p>
            <a:r>
              <a:rPr lang="en-GB" noProof="0" dirty="0"/>
              <a:t>Location, 00/00/2015</a:t>
            </a:r>
          </a:p>
        </p:txBody>
      </p:sp>
      <p:pic>
        <p:nvPicPr>
          <p:cNvPr id="11"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5943118" y="6334216"/>
            <a:ext cx="2896664" cy="219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73365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Section Divider">
    <p:spTree>
      <p:nvGrpSpPr>
        <p:cNvPr id="1" name=""/>
        <p:cNvGrpSpPr/>
        <p:nvPr/>
      </p:nvGrpSpPr>
      <p:grpSpPr>
        <a:xfrm>
          <a:off x="0" y="0"/>
          <a:ext cx="0" cy="0"/>
          <a:chOff x="0" y="0"/>
          <a:chExt cx="0" cy="0"/>
        </a:xfrm>
      </p:grpSpPr>
      <p:sp>
        <p:nvSpPr>
          <p:cNvPr id="6" name="Titre 1"/>
          <p:cNvSpPr>
            <a:spLocks noGrp="1"/>
          </p:cNvSpPr>
          <p:nvPr>
            <p:ph type="ctrTitle" hasCustomPrompt="1"/>
          </p:nvPr>
        </p:nvSpPr>
        <p:spPr>
          <a:xfrm>
            <a:off x="2110274" y="2269502"/>
            <a:ext cx="6330228" cy="2994332"/>
          </a:xfrm>
        </p:spPr>
        <p:txBody>
          <a:bodyPr anchor="t">
            <a:noAutofit/>
          </a:bodyPr>
          <a:lstStyle>
            <a:lvl1pPr algn="l">
              <a:lnSpc>
                <a:spcPct val="85000"/>
              </a:lnSpc>
              <a:defRPr sz="3700" b="1" cap="all" baseline="0">
                <a:solidFill>
                  <a:schemeClr val="tx2"/>
                </a:solidFill>
              </a:defRPr>
            </a:lvl1pPr>
          </a:lstStyle>
          <a:p>
            <a:r>
              <a:rPr lang="en-GB" noProof="0" dirty="0"/>
              <a:t>Section divider</a:t>
            </a:r>
          </a:p>
        </p:txBody>
      </p:sp>
      <p:sp>
        <p:nvSpPr>
          <p:cNvPr id="7" name="Sous-titre 2"/>
          <p:cNvSpPr>
            <a:spLocks noGrp="1"/>
          </p:cNvSpPr>
          <p:nvPr>
            <p:ph type="subTitle" idx="1" hasCustomPrompt="1"/>
          </p:nvPr>
        </p:nvSpPr>
        <p:spPr>
          <a:xfrm>
            <a:off x="1466288" y="1765846"/>
            <a:ext cx="515988" cy="529200"/>
          </a:xfrm>
          <a:prstGeom prst="rect">
            <a:avLst/>
          </a:prstGeom>
          <a:solidFill>
            <a:schemeClr val="tx2"/>
          </a:solidFill>
          <a:ln>
            <a:noFill/>
          </a:ln>
        </p:spPr>
        <p:txBody>
          <a:bodyPr anchor="ctr">
            <a:noAutofit/>
          </a:bodyPr>
          <a:lstStyle>
            <a:lvl1pPr marL="0" indent="0" algn="ctr">
              <a:buNone/>
              <a:defRPr sz="3700" b="1" cap="all" baseline="0">
                <a:solidFill>
                  <a:schemeClr val="bg1"/>
                </a:solidFill>
                <a:latin typeface="+mj-lt"/>
              </a:defRPr>
            </a:lvl1pPr>
            <a:lvl2pPr marL="473079" indent="0" algn="ctr">
              <a:buNone/>
              <a:defRPr>
                <a:solidFill>
                  <a:schemeClr val="tx1">
                    <a:tint val="75000"/>
                  </a:schemeClr>
                </a:solidFill>
              </a:defRPr>
            </a:lvl2pPr>
            <a:lvl3pPr marL="946158" indent="0" algn="ctr">
              <a:buNone/>
              <a:defRPr>
                <a:solidFill>
                  <a:schemeClr val="tx1">
                    <a:tint val="75000"/>
                  </a:schemeClr>
                </a:solidFill>
              </a:defRPr>
            </a:lvl3pPr>
            <a:lvl4pPr marL="1419239" indent="0" algn="ctr">
              <a:buNone/>
              <a:defRPr>
                <a:solidFill>
                  <a:schemeClr val="tx1">
                    <a:tint val="75000"/>
                  </a:schemeClr>
                </a:solidFill>
              </a:defRPr>
            </a:lvl4pPr>
            <a:lvl5pPr marL="1892316" indent="0" algn="ctr">
              <a:buNone/>
              <a:defRPr>
                <a:solidFill>
                  <a:schemeClr val="tx1">
                    <a:tint val="75000"/>
                  </a:schemeClr>
                </a:solidFill>
              </a:defRPr>
            </a:lvl5pPr>
            <a:lvl6pPr marL="2365395" indent="0" algn="ctr">
              <a:buNone/>
              <a:defRPr>
                <a:solidFill>
                  <a:schemeClr val="tx1">
                    <a:tint val="75000"/>
                  </a:schemeClr>
                </a:solidFill>
              </a:defRPr>
            </a:lvl6pPr>
            <a:lvl7pPr marL="2838475" indent="0" algn="ctr">
              <a:buNone/>
              <a:defRPr>
                <a:solidFill>
                  <a:schemeClr val="tx1">
                    <a:tint val="75000"/>
                  </a:schemeClr>
                </a:solidFill>
              </a:defRPr>
            </a:lvl7pPr>
            <a:lvl8pPr marL="3311555" indent="0" algn="ctr">
              <a:buNone/>
              <a:defRPr>
                <a:solidFill>
                  <a:schemeClr val="tx1">
                    <a:tint val="75000"/>
                  </a:schemeClr>
                </a:solidFill>
              </a:defRPr>
            </a:lvl8pPr>
            <a:lvl9pPr marL="3784635" indent="0" algn="ctr">
              <a:buNone/>
              <a:defRPr>
                <a:solidFill>
                  <a:schemeClr val="tx1">
                    <a:tint val="75000"/>
                  </a:schemeClr>
                </a:solidFill>
              </a:defRPr>
            </a:lvl9pPr>
          </a:lstStyle>
          <a:p>
            <a:r>
              <a:rPr lang="en-GB" noProof="0" dirty="0"/>
              <a:t>0</a:t>
            </a:r>
          </a:p>
        </p:txBody>
      </p:sp>
      <p:sp>
        <p:nvSpPr>
          <p:cNvPr id="8" name="Footer Placeholder 4"/>
          <p:cNvSpPr>
            <a:spLocks noGrp="1"/>
          </p:cNvSpPr>
          <p:nvPr>
            <p:ph type="ftr" sz="quarter" idx="3"/>
          </p:nvPr>
        </p:nvSpPr>
        <p:spPr>
          <a:xfrm>
            <a:off x="5734803" y="6714000"/>
            <a:ext cx="2062800" cy="190800"/>
          </a:xfrm>
          <a:prstGeom prst="rect">
            <a:avLst/>
          </a:prstGeom>
        </p:spPr>
        <p:txBody>
          <a:bodyPr vert="horz" lIns="0" tIns="0" rIns="0" bIns="0" rtlCol="0" anchor="ctr"/>
          <a:lstStyle>
            <a:lvl1pPr algn="r">
              <a:defRPr sz="800">
                <a:solidFill>
                  <a:schemeClr val="tx1"/>
                </a:solidFill>
              </a:defRPr>
            </a:lvl1pPr>
          </a:lstStyle>
          <a:p>
            <a:endParaRPr lang="en-GB" dirty="0"/>
          </a:p>
        </p:txBody>
      </p:sp>
      <p:sp>
        <p:nvSpPr>
          <p:cNvPr id="10" name="Rectangle 14"/>
          <p:cNvSpPr>
            <a:spLocks noGrp="1" noChangeArrowheads="1"/>
          </p:cNvSpPr>
          <p:nvPr>
            <p:ph type="dt" sz="half" idx="2"/>
          </p:nvPr>
        </p:nvSpPr>
        <p:spPr bwMode="auto">
          <a:xfrm>
            <a:off x="7852785" y="6715338"/>
            <a:ext cx="725408" cy="189000"/>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ctr">
              <a:defRPr sz="800">
                <a:solidFill>
                  <a:schemeClr val="tx1"/>
                </a:solidFill>
              </a:defRPr>
            </a:lvl1pPr>
          </a:lstStyle>
          <a:p>
            <a:r>
              <a:rPr lang="en-US" dirty="0"/>
              <a:t>|  00/00/0000  |</a:t>
            </a:r>
            <a:endParaRPr lang="en-GB" dirty="0"/>
          </a:p>
        </p:txBody>
      </p:sp>
      <p:sp>
        <p:nvSpPr>
          <p:cNvPr id="11" name="Espace réservé du numéro de diapositive 16"/>
          <p:cNvSpPr>
            <a:spLocks noGrp="1" noChangeArrowheads="1"/>
          </p:cNvSpPr>
          <p:nvPr>
            <p:ph type="sldNum" sz="quarter" idx="4"/>
          </p:nvPr>
        </p:nvSpPr>
        <p:spPr bwMode="auto">
          <a:xfrm>
            <a:off x="8568841" y="6715338"/>
            <a:ext cx="184281" cy="189000"/>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r">
              <a:defRPr sz="800" b="1">
                <a:solidFill>
                  <a:schemeClr val="tx1"/>
                </a:solidFill>
              </a:defRPr>
            </a:lvl1pPr>
          </a:lstStyle>
          <a:p>
            <a:fld id="{BF6629C6-E8D8-4E6B-8015-798ECD15B16B}" type="slidenum">
              <a:rPr lang="en-GB" smtClean="0"/>
              <a:pPr/>
              <a:t>‹N°›</a:t>
            </a:fld>
            <a:endParaRPr lang="en-GB" dirty="0"/>
          </a:p>
        </p:txBody>
      </p:sp>
      <p:cxnSp>
        <p:nvCxnSpPr>
          <p:cNvPr id="12" name="Connecteur droit 14"/>
          <p:cNvCxnSpPr/>
          <p:nvPr userDrawn="1"/>
        </p:nvCxnSpPr>
        <p:spPr>
          <a:xfrm>
            <a:off x="350726" y="6407562"/>
            <a:ext cx="86612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94398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ivider">
    <p:spTree>
      <p:nvGrpSpPr>
        <p:cNvPr id="1" name=""/>
        <p:cNvGrpSpPr/>
        <p:nvPr/>
      </p:nvGrpSpPr>
      <p:grpSpPr>
        <a:xfrm>
          <a:off x="0" y="0"/>
          <a:ext cx="0" cy="0"/>
          <a:chOff x="0" y="0"/>
          <a:chExt cx="0" cy="0"/>
        </a:xfrm>
      </p:grpSpPr>
      <p:sp>
        <p:nvSpPr>
          <p:cNvPr id="14" name="Rectangle 13"/>
          <p:cNvSpPr/>
          <p:nvPr userDrawn="1"/>
        </p:nvSpPr>
        <p:spPr>
          <a:xfrm>
            <a:off x="0" y="2376314"/>
            <a:ext cx="9361488" cy="295232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re 1"/>
          <p:cNvSpPr>
            <a:spLocks noGrp="1"/>
          </p:cNvSpPr>
          <p:nvPr>
            <p:ph type="ctrTitle" hasCustomPrompt="1"/>
          </p:nvPr>
        </p:nvSpPr>
        <p:spPr>
          <a:xfrm>
            <a:off x="1515631" y="3045202"/>
            <a:ext cx="6330228" cy="1614552"/>
          </a:xfrm>
        </p:spPr>
        <p:txBody>
          <a:bodyPr anchor="ctr">
            <a:noAutofit/>
          </a:bodyPr>
          <a:lstStyle>
            <a:lvl1pPr algn="ctr">
              <a:lnSpc>
                <a:spcPct val="85000"/>
              </a:lnSpc>
              <a:defRPr sz="3700" b="1" cap="all" baseline="0">
                <a:solidFill>
                  <a:schemeClr val="tx1"/>
                </a:solidFill>
              </a:defRPr>
            </a:lvl1pPr>
          </a:lstStyle>
          <a:p>
            <a:r>
              <a:rPr lang="en-GB" noProof="0" dirty="0"/>
              <a:t>Section divider</a:t>
            </a:r>
          </a:p>
        </p:txBody>
      </p:sp>
      <p:sp>
        <p:nvSpPr>
          <p:cNvPr id="7" name="Sous-titre 2"/>
          <p:cNvSpPr>
            <a:spLocks noGrp="1"/>
          </p:cNvSpPr>
          <p:nvPr>
            <p:ph type="subTitle" idx="1" hasCustomPrompt="1"/>
          </p:nvPr>
        </p:nvSpPr>
        <p:spPr>
          <a:xfrm>
            <a:off x="4265615" y="2027870"/>
            <a:ext cx="830260" cy="696888"/>
          </a:xfrm>
          <a:prstGeom prst="rect">
            <a:avLst/>
          </a:prstGeom>
          <a:solidFill>
            <a:schemeClr val="tx2"/>
          </a:solidFill>
          <a:ln>
            <a:noFill/>
          </a:ln>
        </p:spPr>
        <p:txBody>
          <a:bodyPr anchor="ctr">
            <a:noAutofit/>
          </a:bodyPr>
          <a:lstStyle>
            <a:lvl1pPr marL="0" indent="0" algn="ctr">
              <a:buNone/>
              <a:defRPr sz="4400" b="0" cap="all" baseline="0">
                <a:solidFill>
                  <a:schemeClr val="bg1"/>
                </a:solidFill>
                <a:latin typeface="+mn-lt"/>
              </a:defRPr>
            </a:lvl1pPr>
            <a:lvl2pPr marL="473079" indent="0" algn="ctr">
              <a:buNone/>
              <a:defRPr>
                <a:solidFill>
                  <a:schemeClr val="tx1">
                    <a:tint val="75000"/>
                  </a:schemeClr>
                </a:solidFill>
              </a:defRPr>
            </a:lvl2pPr>
            <a:lvl3pPr marL="946158" indent="0" algn="ctr">
              <a:buNone/>
              <a:defRPr>
                <a:solidFill>
                  <a:schemeClr val="tx1">
                    <a:tint val="75000"/>
                  </a:schemeClr>
                </a:solidFill>
              </a:defRPr>
            </a:lvl3pPr>
            <a:lvl4pPr marL="1419239" indent="0" algn="ctr">
              <a:buNone/>
              <a:defRPr>
                <a:solidFill>
                  <a:schemeClr val="tx1">
                    <a:tint val="75000"/>
                  </a:schemeClr>
                </a:solidFill>
              </a:defRPr>
            </a:lvl4pPr>
            <a:lvl5pPr marL="1892316" indent="0" algn="ctr">
              <a:buNone/>
              <a:defRPr>
                <a:solidFill>
                  <a:schemeClr val="tx1">
                    <a:tint val="75000"/>
                  </a:schemeClr>
                </a:solidFill>
              </a:defRPr>
            </a:lvl5pPr>
            <a:lvl6pPr marL="2365395" indent="0" algn="ctr">
              <a:buNone/>
              <a:defRPr>
                <a:solidFill>
                  <a:schemeClr val="tx1">
                    <a:tint val="75000"/>
                  </a:schemeClr>
                </a:solidFill>
              </a:defRPr>
            </a:lvl6pPr>
            <a:lvl7pPr marL="2838475" indent="0" algn="ctr">
              <a:buNone/>
              <a:defRPr>
                <a:solidFill>
                  <a:schemeClr val="tx1">
                    <a:tint val="75000"/>
                  </a:schemeClr>
                </a:solidFill>
              </a:defRPr>
            </a:lvl7pPr>
            <a:lvl8pPr marL="3311555" indent="0" algn="ctr">
              <a:buNone/>
              <a:defRPr>
                <a:solidFill>
                  <a:schemeClr val="tx1">
                    <a:tint val="75000"/>
                  </a:schemeClr>
                </a:solidFill>
              </a:defRPr>
            </a:lvl8pPr>
            <a:lvl9pPr marL="3784635" indent="0" algn="ctr">
              <a:buNone/>
              <a:defRPr>
                <a:solidFill>
                  <a:schemeClr val="tx1">
                    <a:tint val="75000"/>
                  </a:schemeClr>
                </a:solidFill>
              </a:defRPr>
            </a:lvl9pPr>
          </a:lstStyle>
          <a:p>
            <a:r>
              <a:rPr lang="en-GB" noProof="0" dirty="0"/>
              <a:t>0</a:t>
            </a:r>
          </a:p>
        </p:txBody>
      </p:sp>
      <p:sp>
        <p:nvSpPr>
          <p:cNvPr id="8" name="Footer Placeholder 4"/>
          <p:cNvSpPr>
            <a:spLocks noGrp="1"/>
          </p:cNvSpPr>
          <p:nvPr>
            <p:ph type="ftr" sz="quarter" idx="3"/>
          </p:nvPr>
        </p:nvSpPr>
        <p:spPr>
          <a:xfrm>
            <a:off x="5734803" y="6714000"/>
            <a:ext cx="2062800" cy="190800"/>
          </a:xfrm>
          <a:prstGeom prst="rect">
            <a:avLst/>
          </a:prstGeom>
        </p:spPr>
        <p:txBody>
          <a:bodyPr vert="horz" lIns="0" tIns="0" rIns="0" bIns="0" rtlCol="0" anchor="ctr"/>
          <a:lstStyle>
            <a:lvl1pPr algn="r">
              <a:defRPr sz="800">
                <a:solidFill>
                  <a:schemeClr val="tx1"/>
                </a:solidFill>
              </a:defRPr>
            </a:lvl1pPr>
          </a:lstStyle>
          <a:p>
            <a:endParaRPr lang="en-GB" dirty="0"/>
          </a:p>
        </p:txBody>
      </p:sp>
      <p:sp>
        <p:nvSpPr>
          <p:cNvPr id="10" name="Rectangle 14"/>
          <p:cNvSpPr>
            <a:spLocks noGrp="1" noChangeArrowheads="1"/>
          </p:cNvSpPr>
          <p:nvPr>
            <p:ph type="dt" sz="half" idx="2"/>
          </p:nvPr>
        </p:nvSpPr>
        <p:spPr bwMode="auto">
          <a:xfrm>
            <a:off x="7852785" y="6715338"/>
            <a:ext cx="725408" cy="189000"/>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ctr">
              <a:defRPr sz="800">
                <a:solidFill>
                  <a:schemeClr val="tx1"/>
                </a:solidFill>
              </a:defRPr>
            </a:lvl1pPr>
          </a:lstStyle>
          <a:p>
            <a:r>
              <a:rPr lang="en-US"/>
              <a:t>|  00/00/0000  |</a:t>
            </a:r>
            <a:endParaRPr lang="en-GB" dirty="0"/>
          </a:p>
        </p:txBody>
      </p:sp>
      <p:sp>
        <p:nvSpPr>
          <p:cNvPr id="11" name="Espace réservé du numéro de diapositive 16"/>
          <p:cNvSpPr>
            <a:spLocks noGrp="1" noChangeArrowheads="1"/>
          </p:cNvSpPr>
          <p:nvPr>
            <p:ph type="sldNum" sz="quarter" idx="4"/>
          </p:nvPr>
        </p:nvSpPr>
        <p:spPr bwMode="auto">
          <a:xfrm>
            <a:off x="8568841" y="6715338"/>
            <a:ext cx="184281" cy="189000"/>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r">
              <a:defRPr sz="800" b="1">
                <a:solidFill>
                  <a:schemeClr val="tx1"/>
                </a:solidFill>
              </a:defRPr>
            </a:lvl1pPr>
          </a:lstStyle>
          <a:p>
            <a:fld id="{BF6629C6-E8D8-4E6B-8015-798ECD15B16B}" type="slidenum">
              <a:rPr lang="en-GB" smtClean="0"/>
              <a:pPr/>
              <a:t>‹N°›</a:t>
            </a:fld>
            <a:endParaRPr lang="en-GB" dirty="0"/>
          </a:p>
        </p:txBody>
      </p:sp>
      <p:cxnSp>
        <p:nvCxnSpPr>
          <p:cNvPr id="12" name="Connecteur droit 14"/>
          <p:cNvCxnSpPr/>
          <p:nvPr userDrawn="1"/>
        </p:nvCxnSpPr>
        <p:spPr>
          <a:xfrm>
            <a:off x="350726" y="6407562"/>
            <a:ext cx="86612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5172075" y="2376314"/>
            <a:ext cx="4189413"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0" y="2376314"/>
            <a:ext cx="4189413"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81148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 Columns Slide">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5734803" y="6714000"/>
            <a:ext cx="2062800" cy="190800"/>
          </a:xfrm>
          <a:prstGeom prst="rect">
            <a:avLst/>
          </a:prstGeom>
        </p:spPr>
        <p:txBody>
          <a:bodyPr vert="horz" lIns="0" tIns="0" rIns="0" bIns="0" rtlCol="0" anchor="ctr"/>
          <a:lstStyle>
            <a:lvl1pPr algn="r">
              <a:defRPr sz="800">
                <a:solidFill>
                  <a:schemeClr val="tx1"/>
                </a:solidFill>
              </a:defRPr>
            </a:lvl1pPr>
          </a:lstStyle>
          <a:p>
            <a:endParaRPr lang="en-GB" dirty="0"/>
          </a:p>
        </p:txBody>
      </p:sp>
      <p:sp>
        <p:nvSpPr>
          <p:cNvPr id="8" name="Rectangle 14"/>
          <p:cNvSpPr>
            <a:spLocks noGrp="1" noChangeArrowheads="1"/>
          </p:cNvSpPr>
          <p:nvPr>
            <p:ph type="dt" sz="half" idx="2"/>
          </p:nvPr>
        </p:nvSpPr>
        <p:spPr bwMode="auto">
          <a:xfrm>
            <a:off x="7852785" y="6715338"/>
            <a:ext cx="725408" cy="189000"/>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ctr">
              <a:defRPr sz="800">
                <a:solidFill>
                  <a:schemeClr val="tx1"/>
                </a:solidFill>
              </a:defRPr>
            </a:lvl1pPr>
          </a:lstStyle>
          <a:p>
            <a:r>
              <a:rPr lang="en-US"/>
              <a:t>|  00/00/0000  |</a:t>
            </a:r>
            <a:endParaRPr lang="en-GB" dirty="0"/>
          </a:p>
        </p:txBody>
      </p:sp>
      <p:sp>
        <p:nvSpPr>
          <p:cNvPr id="9" name="Espace réservé du numéro de diapositive 16"/>
          <p:cNvSpPr>
            <a:spLocks noGrp="1" noChangeArrowheads="1"/>
          </p:cNvSpPr>
          <p:nvPr>
            <p:ph type="sldNum" sz="quarter" idx="4"/>
          </p:nvPr>
        </p:nvSpPr>
        <p:spPr bwMode="auto">
          <a:xfrm>
            <a:off x="8568841" y="6715338"/>
            <a:ext cx="184281" cy="189000"/>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r">
              <a:defRPr sz="800" b="1">
                <a:solidFill>
                  <a:schemeClr val="tx1"/>
                </a:solidFill>
              </a:defRPr>
            </a:lvl1pPr>
          </a:lstStyle>
          <a:p>
            <a:fld id="{BF6629C6-E8D8-4E6B-8015-798ECD15B16B}" type="slidenum">
              <a:rPr lang="en-GB" smtClean="0"/>
              <a:pPr/>
              <a:t>‹N°›</a:t>
            </a:fld>
            <a:endParaRPr lang="en-GB" dirty="0"/>
          </a:p>
        </p:txBody>
      </p:sp>
      <p:cxnSp>
        <p:nvCxnSpPr>
          <p:cNvPr id="10" name="Connecteur droit 14"/>
          <p:cNvCxnSpPr/>
          <p:nvPr userDrawn="1"/>
        </p:nvCxnSpPr>
        <p:spPr>
          <a:xfrm>
            <a:off x="350726" y="6407562"/>
            <a:ext cx="86612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p:nvPr>
        </p:nvSpPr>
        <p:spPr>
          <a:xfrm>
            <a:off x="349200" y="122400"/>
            <a:ext cx="8665200" cy="745200"/>
          </a:xfrm>
        </p:spPr>
        <p:txBody>
          <a:bodyPr lIns="0" tIns="0" rIns="0" bIns="0">
            <a:noAutofit/>
          </a:bodyPr>
          <a:lstStyle>
            <a:lvl1pPr algn="l">
              <a:defRPr sz="2800" b="1">
                <a:solidFill>
                  <a:srgbClr val="00915A"/>
                </a:solidFill>
              </a:defRPr>
            </a:lvl1pPr>
          </a:lstStyle>
          <a:p>
            <a:r>
              <a:rPr lang="en-US" dirty="0"/>
              <a:t>Click to edit Master title style</a:t>
            </a:r>
            <a:endParaRPr lang="en-GB" dirty="0"/>
          </a:p>
        </p:txBody>
      </p:sp>
      <p:cxnSp>
        <p:nvCxnSpPr>
          <p:cNvPr id="13" name="Connecteur droit 9"/>
          <p:cNvCxnSpPr/>
          <p:nvPr userDrawn="1"/>
        </p:nvCxnSpPr>
        <p:spPr>
          <a:xfrm>
            <a:off x="350726" y="922950"/>
            <a:ext cx="86612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p:cNvSpPr>
            <a:spLocks noGrp="1"/>
          </p:cNvSpPr>
          <p:nvPr>
            <p:ph sz="half" idx="14" hasCustomPrompt="1"/>
          </p:nvPr>
        </p:nvSpPr>
        <p:spPr>
          <a:xfrm>
            <a:off x="4876006" y="1193800"/>
            <a:ext cx="4135437" cy="4752975"/>
          </a:xfrm>
          <a:prstGeom prst="rect">
            <a:avLst/>
          </a:prstGeom>
        </p:spPr>
        <p:txBody>
          <a:bodyPr lIns="0" tIns="0" rIns="0" bIns="0"/>
          <a:lstStyle>
            <a:lvl1pPr marL="227013" indent="-227013">
              <a:buClr>
                <a:srgbClr val="3F803F"/>
              </a:buClr>
              <a:buSzPct val="120000"/>
              <a:buFont typeface="Wingdings" panose="05000000000000000000" pitchFamily="2" charset="2"/>
              <a:buChar char="§"/>
              <a:defRPr sz="1800">
                <a:latin typeface="Arial" panose="020B0604020202020204" pitchFamily="34" charset="0"/>
                <a:cs typeface="Arial" panose="020B0604020202020204" pitchFamily="34" charset="0"/>
              </a:defRPr>
            </a:lvl1pPr>
            <a:lvl2pPr marL="461963" indent="-234950">
              <a:buClr>
                <a:srgbClr val="FF8141"/>
              </a:buClr>
              <a:buSzPct val="120000"/>
              <a:buFont typeface="Wingdings" panose="05000000000000000000" pitchFamily="2" charset="2"/>
              <a:buChar char="§"/>
              <a:defRPr sz="1600"/>
            </a:lvl2pPr>
            <a:lvl3pPr marL="687388" indent="-225425">
              <a:buClr>
                <a:schemeClr val="tx1"/>
              </a:buClr>
              <a:buSzPct val="120000"/>
              <a:buFont typeface="Wingdings" panose="05000000000000000000" pitchFamily="2" charset="2"/>
              <a:buChar char="§"/>
              <a:defRPr sz="1400"/>
            </a:lvl3pPr>
            <a:lvl4pPr marL="914400" indent="-227013">
              <a:tabLst/>
              <a:defRPr sz="1200"/>
            </a:lvl4pPr>
            <a:lvl5pPr marL="1141413" indent="-227013">
              <a:defRPr sz="1050"/>
            </a:lvl5pPr>
            <a:lvl6pPr>
              <a:defRPr sz="1800"/>
            </a:lvl6pPr>
            <a:lvl7pPr>
              <a:defRPr sz="1800"/>
            </a:lvl7pPr>
            <a:lvl8pPr>
              <a:defRPr sz="1800"/>
            </a:lvl8pPr>
            <a:lvl9pPr>
              <a:defRPr sz="1800"/>
            </a:lvl9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sz="half" idx="1" hasCustomPrompt="1"/>
          </p:nvPr>
        </p:nvSpPr>
        <p:spPr>
          <a:xfrm>
            <a:off x="343927" y="1193800"/>
            <a:ext cx="4135437" cy="4752975"/>
          </a:xfrm>
          <a:prstGeom prst="rect">
            <a:avLst/>
          </a:prstGeom>
        </p:spPr>
        <p:txBody>
          <a:bodyPr lIns="0" tIns="0" rIns="0" bIns="0"/>
          <a:lstStyle>
            <a:lvl1pPr marL="227013" indent="-227013">
              <a:buClr>
                <a:srgbClr val="3F803F"/>
              </a:buClr>
              <a:buSzPct val="120000"/>
              <a:buFont typeface="Wingdings" panose="05000000000000000000" pitchFamily="2" charset="2"/>
              <a:buChar char="§"/>
              <a:defRPr sz="1800">
                <a:latin typeface="Arial" panose="020B0604020202020204" pitchFamily="34" charset="0"/>
                <a:cs typeface="Arial" panose="020B0604020202020204" pitchFamily="34" charset="0"/>
              </a:defRPr>
            </a:lvl1pPr>
            <a:lvl2pPr marL="461963" indent="-234950">
              <a:buClr>
                <a:srgbClr val="FF8141"/>
              </a:buClr>
              <a:buSzPct val="120000"/>
              <a:buFont typeface="Wingdings" panose="05000000000000000000" pitchFamily="2" charset="2"/>
              <a:buChar char="§"/>
              <a:defRPr sz="1600"/>
            </a:lvl2pPr>
            <a:lvl3pPr marL="687388" indent="-225425">
              <a:buClr>
                <a:schemeClr val="tx1"/>
              </a:buClr>
              <a:buSzPct val="120000"/>
              <a:buFont typeface="Wingdings" panose="05000000000000000000" pitchFamily="2" charset="2"/>
              <a:buChar char="§"/>
              <a:defRPr sz="1400"/>
            </a:lvl3pPr>
            <a:lvl4pPr marL="914400" indent="-227013">
              <a:tabLst/>
              <a:defRPr sz="1200"/>
            </a:lvl4pPr>
            <a:lvl5pPr marL="1141413" indent="-227013">
              <a:defRPr sz="1050"/>
            </a:lvl5pPr>
            <a:lvl6pPr>
              <a:defRPr sz="1800"/>
            </a:lvl6pPr>
            <a:lvl7pPr>
              <a:defRPr sz="1800"/>
            </a:lvl7pPr>
            <a:lvl8pPr>
              <a:defRPr sz="1800"/>
            </a:lvl8pPr>
            <a:lvl9pPr>
              <a:defRPr sz="1800"/>
            </a:lvl9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798578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akeaway Box">
    <p:spTree>
      <p:nvGrpSpPr>
        <p:cNvPr id="1" name=""/>
        <p:cNvGrpSpPr/>
        <p:nvPr/>
      </p:nvGrpSpPr>
      <p:grpSpPr>
        <a:xfrm>
          <a:off x="0" y="0"/>
          <a:ext cx="0" cy="0"/>
          <a:chOff x="0" y="0"/>
          <a:chExt cx="0" cy="0"/>
        </a:xfrm>
      </p:grpSpPr>
      <p:sp>
        <p:nvSpPr>
          <p:cNvPr id="8" name="Footer Placeholder 4"/>
          <p:cNvSpPr>
            <a:spLocks noGrp="1"/>
          </p:cNvSpPr>
          <p:nvPr>
            <p:ph type="ftr" sz="quarter" idx="3"/>
          </p:nvPr>
        </p:nvSpPr>
        <p:spPr>
          <a:xfrm>
            <a:off x="5734803" y="6714000"/>
            <a:ext cx="2062800" cy="190800"/>
          </a:xfrm>
          <a:prstGeom prst="rect">
            <a:avLst/>
          </a:prstGeom>
        </p:spPr>
        <p:txBody>
          <a:bodyPr vert="horz" lIns="0" tIns="0" rIns="0" bIns="0" rtlCol="0" anchor="ctr"/>
          <a:lstStyle>
            <a:lvl1pPr algn="r">
              <a:defRPr sz="800">
                <a:solidFill>
                  <a:schemeClr val="tx1"/>
                </a:solidFill>
              </a:defRPr>
            </a:lvl1pPr>
          </a:lstStyle>
          <a:p>
            <a:endParaRPr lang="en-GB" dirty="0"/>
          </a:p>
        </p:txBody>
      </p:sp>
      <p:sp>
        <p:nvSpPr>
          <p:cNvPr id="10" name="Rectangle 14"/>
          <p:cNvSpPr>
            <a:spLocks noGrp="1" noChangeArrowheads="1"/>
          </p:cNvSpPr>
          <p:nvPr>
            <p:ph type="dt" sz="half" idx="2"/>
          </p:nvPr>
        </p:nvSpPr>
        <p:spPr bwMode="auto">
          <a:xfrm>
            <a:off x="7852785" y="6715338"/>
            <a:ext cx="725408" cy="189000"/>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ctr">
              <a:defRPr sz="800">
                <a:solidFill>
                  <a:schemeClr val="tx1"/>
                </a:solidFill>
              </a:defRPr>
            </a:lvl1pPr>
          </a:lstStyle>
          <a:p>
            <a:r>
              <a:rPr lang="en-US"/>
              <a:t>|  00/00/0000  |</a:t>
            </a:r>
            <a:endParaRPr lang="en-GB" dirty="0"/>
          </a:p>
        </p:txBody>
      </p:sp>
      <p:sp>
        <p:nvSpPr>
          <p:cNvPr id="11" name="Espace réservé du numéro de diapositive 16"/>
          <p:cNvSpPr>
            <a:spLocks noGrp="1" noChangeArrowheads="1"/>
          </p:cNvSpPr>
          <p:nvPr>
            <p:ph type="sldNum" sz="quarter" idx="4"/>
          </p:nvPr>
        </p:nvSpPr>
        <p:spPr bwMode="auto">
          <a:xfrm>
            <a:off x="8568841" y="6715338"/>
            <a:ext cx="184281" cy="189000"/>
          </a:xfrm>
          <a:prstGeom prst="rect">
            <a:avLst/>
          </a:prstGeom>
          <a:noFill/>
          <a:ln w="9525">
            <a:noFill/>
            <a:miter lim="800000"/>
            <a:headEnd/>
            <a:tailEnd/>
          </a:ln>
          <a:effectLst/>
        </p:spPr>
        <p:txBody>
          <a:bodyPr vert="horz" wrap="none" lIns="0" tIns="0" rIns="0" bIns="0" numCol="1" anchor="ctr" anchorCtr="0" compatLnSpc="1">
            <a:prstTxWarp prst="textNoShape">
              <a:avLst/>
            </a:prstTxWarp>
          </a:bodyPr>
          <a:lstStyle>
            <a:lvl1pPr algn="r">
              <a:defRPr sz="800" b="1">
                <a:solidFill>
                  <a:schemeClr val="tx1"/>
                </a:solidFill>
              </a:defRPr>
            </a:lvl1pPr>
          </a:lstStyle>
          <a:p>
            <a:fld id="{BF6629C6-E8D8-4E6B-8015-798ECD15B16B}" type="slidenum">
              <a:rPr lang="en-GB" smtClean="0"/>
              <a:pPr/>
              <a:t>‹N°›</a:t>
            </a:fld>
            <a:endParaRPr lang="en-GB" dirty="0"/>
          </a:p>
        </p:txBody>
      </p:sp>
      <p:cxnSp>
        <p:nvCxnSpPr>
          <p:cNvPr id="12" name="Connecteur droit 14"/>
          <p:cNvCxnSpPr/>
          <p:nvPr userDrawn="1"/>
        </p:nvCxnSpPr>
        <p:spPr>
          <a:xfrm>
            <a:off x="350726" y="6407562"/>
            <a:ext cx="86612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p:nvPr>
        </p:nvSpPr>
        <p:spPr>
          <a:xfrm>
            <a:off x="349200" y="122400"/>
            <a:ext cx="8665200" cy="745200"/>
          </a:xfrm>
        </p:spPr>
        <p:txBody>
          <a:bodyPr lIns="0" tIns="0" rIns="0" bIns="0">
            <a:noAutofit/>
          </a:bodyPr>
          <a:lstStyle>
            <a:lvl1pPr algn="l">
              <a:defRPr sz="2800" b="1">
                <a:solidFill>
                  <a:srgbClr val="00915A"/>
                </a:solidFill>
              </a:defRPr>
            </a:lvl1pPr>
          </a:lstStyle>
          <a:p>
            <a:r>
              <a:rPr lang="en-US" dirty="0"/>
              <a:t>Click to edit Master title style</a:t>
            </a:r>
            <a:endParaRPr lang="en-GB" dirty="0"/>
          </a:p>
        </p:txBody>
      </p:sp>
      <p:cxnSp>
        <p:nvCxnSpPr>
          <p:cNvPr id="16" name="Connecteur droit 9"/>
          <p:cNvCxnSpPr/>
          <p:nvPr userDrawn="1"/>
        </p:nvCxnSpPr>
        <p:spPr>
          <a:xfrm>
            <a:off x="350726" y="922950"/>
            <a:ext cx="86612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Content Placeholder 2"/>
          <p:cNvSpPr>
            <a:spLocks noGrp="1"/>
          </p:cNvSpPr>
          <p:nvPr>
            <p:ph sz="half" idx="15" hasCustomPrompt="1"/>
          </p:nvPr>
        </p:nvSpPr>
        <p:spPr>
          <a:xfrm>
            <a:off x="343927" y="1193800"/>
            <a:ext cx="8668018" cy="4752975"/>
          </a:xfrm>
          <a:prstGeom prst="rect">
            <a:avLst/>
          </a:prstGeom>
        </p:spPr>
        <p:txBody>
          <a:bodyPr lIns="0" tIns="0" rIns="0" bIns="0"/>
          <a:lstStyle>
            <a:lvl1pPr marL="227013" indent="-227013">
              <a:buClr>
                <a:srgbClr val="3F803F"/>
              </a:buClr>
              <a:buSzPct val="120000"/>
              <a:buFont typeface="Wingdings" panose="05000000000000000000" pitchFamily="2" charset="2"/>
              <a:buChar char="§"/>
              <a:defRPr sz="1800">
                <a:latin typeface="Arial" panose="020B0604020202020204" pitchFamily="34" charset="0"/>
                <a:cs typeface="Arial" panose="020B0604020202020204" pitchFamily="34" charset="0"/>
              </a:defRPr>
            </a:lvl1pPr>
            <a:lvl2pPr marL="461963" indent="-234950">
              <a:buClr>
                <a:srgbClr val="FF8141"/>
              </a:buClr>
              <a:buSzPct val="120000"/>
              <a:buFont typeface="Wingdings" panose="05000000000000000000" pitchFamily="2" charset="2"/>
              <a:buChar char="§"/>
              <a:defRPr sz="1600"/>
            </a:lvl2pPr>
            <a:lvl3pPr marL="687388" indent="-225425">
              <a:buClr>
                <a:schemeClr val="tx1"/>
              </a:buClr>
              <a:buSzPct val="120000"/>
              <a:buFont typeface="Wingdings" panose="05000000000000000000" pitchFamily="2" charset="2"/>
              <a:buChar char="§"/>
              <a:defRPr sz="1400"/>
            </a:lvl3pPr>
            <a:lvl4pPr marL="914400" indent="-227013">
              <a:tabLst/>
              <a:defRPr sz="1200"/>
            </a:lvl4pPr>
            <a:lvl5pPr marL="1141413" indent="-227013">
              <a:defRPr sz="1050"/>
            </a:lvl5pPr>
            <a:lvl6pPr>
              <a:defRPr sz="1800"/>
            </a:lvl6pPr>
            <a:lvl7pPr>
              <a:defRPr sz="1800"/>
            </a:lvl7pPr>
            <a:lvl8pPr>
              <a:defRPr sz="1800"/>
            </a:lvl8pPr>
            <a:lvl9pPr>
              <a:defRPr sz="1800"/>
            </a:lvl9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803357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9"/>
            </p:custDataLst>
            <p:extLst>
              <p:ext uri="{D42A27DB-BD31-4B8C-83A1-F6EECF244321}">
                <p14:modId xmlns:p14="http://schemas.microsoft.com/office/powerpoint/2010/main" val="1962092204"/>
              </p:ext>
            </p:extLst>
          </p:nvPr>
        </p:nvGraphicFramePr>
        <p:xfrm>
          <a:off x="1591" y="1591"/>
          <a:ext cx="1587" cy="1587"/>
        </p:xfrm>
        <a:graphic>
          <a:graphicData uri="http://schemas.openxmlformats.org/presentationml/2006/ole">
            <mc:AlternateContent xmlns:mc="http://schemas.openxmlformats.org/markup-compatibility/2006">
              <mc:Choice xmlns:v="urn:schemas-microsoft-com:vml" Requires="v">
                <p:oleObj spid="_x0000_s1199"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91" y="1591"/>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49200" y="122400"/>
            <a:ext cx="8665200" cy="745200"/>
          </a:xfrm>
          <a:prstGeom prst="rect">
            <a:avLst/>
          </a:prstGeom>
        </p:spPr>
        <p:txBody>
          <a:bodyPr vert="horz" lIns="0" tIns="0" rIns="0" bIns="0" rtlCol="0" anchor="ctr">
            <a:noAutofit/>
          </a:bodyPr>
          <a:lstStyle/>
          <a:p>
            <a:r>
              <a:rPr lang="en-US" dirty="0"/>
              <a:t>Click to edit Master title style</a:t>
            </a:r>
            <a:endParaRPr lang="en-GB" dirty="0"/>
          </a:p>
        </p:txBody>
      </p:sp>
      <p:cxnSp>
        <p:nvCxnSpPr>
          <p:cNvPr id="8" name="Connecteur droit 9"/>
          <p:cNvCxnSpPr/>
          <p:nvPr userDrawn="1"/>
        </p:nvCxnSpPr>
        <p:spPr>
          <a:xfrm>
            <a:off x="350726" y="922950"/>
            <a:ext cx="86612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Picture 4"/>
          <p:cNvPicPr>
            <a:picLocks noChangeAspect="1" noChangeArrowheads="1"/>
          </p:cNvPicPr>
          <p:nvPr userDrawn="1"/>
        </p:nvPicPr>
        <p:blipFill>
          <a:blip r:embed="rId12" cstate="print">
            <a:extLst>
              <a:ext uri="{28A0092B-C50C-407E-A947-70E740481C1C}">
                <a14:useLocalDpi xmlns:a14="http://schemas.microsoft.com/office/drawing/2010/main" val="0"/>
              </a:ext>
            </a:extLst>
          </a:blip>
          <a:stretch>
            <a:fillRect/>
          </a:stretch>
        </p:blipFill>
        <p:spPr bwMode="auto">
          <a:xfrm>
            <a:off x="3761305" y="6735860"/>
            <a:ext cx="1831155" cy="142037"/>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Connecteur droit 14"/>
          <p:cNvCxnSpPr/>
          <p:nvPr userDrawn="1"/>
        </p:nvCxnSpPr>
        <p:spPr>
          <a:xfrm>
            <a:off x="350726" y="6407562"/>
            <a:ext cx="86612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3" descr="C:\Users\ChristineB\Seenk-D\BNPP\2015-02\PPT_43-07.png"/>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657254" y="6607545"/>
            <a:ext cx="1844675" cy="381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5628220"/>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8" r:id="rId3"/>
    <p:sldLayoutId id="2147483694" r:id="rId4"/>
    <p:sldLayoutId id="2147483680" r:id="rId5"/>
    <p:sldLayoutId id="2147483681" r:id="rId6"/>
  </p:sldLayoutIdLst>
  <p:hf hdr="0"/>
  <p:txStyles>
    <p:titleStyle>
      <a:lvl1pPr algn="l" defTabSz="914163" rtl="0" eaLnBrk="1" latinLnBrk="0" hangingPunct="1">
        <a:spcBef>
          <a:spcPct val="0"/>
        </a:spcBef>
        <a:buNone/>
        <a:defRPr lang="en-GB" sz="2800" b="1" kern="1200">
          <a:solidFill>
            <a:schemeClr val="tx2"/>
          </a:solidFill>
          <a:latin typeface="+mj-lt"/>
          <a:ea typeface="+mj-ea"/>
          <a:cs typeface="+mj-cs"/>
        </a:defRPr>
      </a:lvl1pPr>
    </p:titleStyle>
    <p:bodyStyle>
      <a:lvl1pPr marL="0" indent="0" algn="l" defTabSz="914163" rtl="0" eaLnBrk="1" latinLnBrk="0" hangingPunct="1">
        <a:spcBef>
          <a:spcPts val="0"/>
        </a:spcBef>
        <a:buClr>
          <a:schemeClr val="tx2"/>
        </a:buClr>
        <a:buSzPct val="90000"/>
        <a:buFont typeface="Wingdings" pitchFamily="2" charset="2"/>
        <a:buNone/>
        <a:defRPr lang="en-US" sz="1100" kern="1200" dirty="0" smtClean="0">
          <a:solidFill>
            <a:schemeClr val="tx1"/>
          </a:solidFill>
          <a:latin typeface="+mn-lt"/>
          <a:ea typeface="+mn-ea"/>
          <a:cs typeface="+mn-cs"/>
        </a:defRPr>
      </a:lvl1pPr>
      <a:lvl2pPr marL="639763" indent="-457200" algn="l" defTabSz="914163" rtl="0" eaLnBrk="1" latinLnBrk="0" hangingPunct="1">
        <a:spcBef>
          <a:spcPts val="0"/>
        </a:spcBef>
        <a:buFont typeface="Arial" panose="020B0604020202020204" pitchFamily="34" charset="0"/>
        <a:buChar char="–"/>
        <a:defRPr lang="en-US" sz="1100" kern="1200" dirty="0" smtClean="0">
          <a:solidFill>
            <a:schemeClr val="tx1"/>
          </a:solidFill>
          <a:latin typeface="+mn-lt"/>
          <a:ea typeface="+mn-ea"/>
          <a:cs typeface="+mn-cs"/>
        </a:defRPr>
      </a:lvl2pPr>
      <a:lvl3pPr marL="700087" indent="-342900" algn="l" defTabSz="914163" rtl="0" eaLnBrk="1" latinLnBrk="0" hangingPunct="1">
        <a:spcBef>
          <a:spcPts val="0"/>
        </a:spcBef>
        <a:buFont typeface="Arial" panose="020B0604020202020204" pitchFamily="34" charset="0"/>
        <a:buChar char="•"/>
        <a:defRPr lang="en-US" sz="1100" kern="1200" dirty="0" smtClean="0">
          <a:solidFill>
            <a:schemeClr val="tx1"/>
          </a:solidFill>
          <a:latin typeface="+mn-lt"/>
          <a:ea typeface="+mn-ea"/>
          <a:cs typeface="+mn-cs"/>
        </a:defRPr>
      </a:lvl3pPr>
      <a:lvl4pPr marL="1599785" indent="-228540" algn="l" defTabSz="914163" rtl="0" eaLnBrk="1" latinLnBrk="0" hangingPunct="1">
        <a:spcBef>
          <a:spcPts val="0"/>
        </a:spcBef>
        <a:buFont typeface="Arial" panose="020B0604020202020204" pitchFamily="34" charset="0"/>
        <a:buChar char="–"/>
        <a:defRPr sz="2000" kern="1200">
          <a:solidFill>
            <a:schemeClr val="tx1"/>
          </a:solidFill>
          <a:latin typeface="+mn-lt"/>
          <a:ea typeface="+mn-ea"/>
          <a:cs typeface="+mn-cs"/>
        </a:defRPr>
      </a:lvl4pPr>
      <a:lvl5pPr marL="2056866" indent="-228540" algn="l" defTabSz="914163" rtl="0" eaLnBrk="1" latinLnBrk="0" hangingPunct="1">
        <a:spcBef>
          <a:spcPts val="0"/>
        </a:spcBef>
        <a:buFont typeface="Arial" panose="020B0604020202020204" pitchFamily="34" charset="0"/>
        <a:buChar char="»"/>
        <a:defRPr sz="2000" kern="1200">
          <a:solidFill>
            <a:schemeClr val="tx1"/>
          </a:solidFill>
          <a:latin typeface="+mn-lt"/>
          <a:ea typeface="+mn-ea"/>
          <a:cs typeface="+mn-cs"/>
        </a:defRPr>
      </a:lvl5pPr>
      <a:lvl6pPr marL="2513947" indent="-228540" algn="l" defTabSz="91416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029" indent="-228540" algn="l" defTabSz="91416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109" indent="-228540" algn="l" defTabSz="91416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192" indent="-228540" algn="l" defTabSz="91416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163" rtl="0" eaLnBrk="1" latinLnBrk="0" hangingPunct="1">
        <a:defRPr sz="1800" kern="1200">
          <a:solidFill>
            <a:schemeClr val="tx1"/>
          </a:solidFill>
          <a:latin typeface="+mn-lt"/>
          <a:ea typeface="+mn-ea"/>
          <a:cs typeface="+mn-cs"/>
        </a:defRPr>
      </a:lvl1pPr>
      <a:lvl2pPr marL="457082" algn="l" defTabSz="914163" rtl="0" eaLnBrk="1" latinLnBrk="0" hangingPunct="1">
        <a:defRPr sz="1800" kern="1200">
          <a:solidFill>
            <a:schemeClr val="tx1"/>
          </a:solidFill>
          <a:latin typeface="+mn-lt"/>
          <a:ea typeface="+mn-ea"/>
          <a:cs typeface="+mn-cs"/>
        </a:defRPr>
      </a:lvl2pPr>
      <a:lvl3pPr marL="914163" algn="l" defTabSz="914163" rtl="0" eaLnBrk="1" latinLnBrk="0" hangingPunct="1">
        <a:defRPr sz="1800" kern="1200">
          <a:solidFill>
            <a:schemeClr val="tx1"/>
          </a:solidFill>
          <a:latin typeface="+mn-lt"/>
          <a:ea typeface="+mn-ea"/>
          <a:cs typeface="+mn-cs"/>
        </a:defRPr>
      </a:lvl3pPr>
      <a:lvl4pPr marL="1371246" algn="l" defTabSz="914163" rtl="0" eaLnBrk="1" latinLnBrk="0" hangingPunct="1">
        <a:defRPr sz="1800" kern="1200">
          <a:solidFill>
            <a:schemeClr val="tx1"/>
          </a:solidFill>
          <a:latin typeface="+mn-lt"/>
          <a:ea typeface="+mn-ea"/>
          <a:cs typeface="+mn-cs"/>
        </a:defRPr>
      </a:lvl4pPr>
      <a:lvl5pPr marL="1828325" algn="l" defTabSz="914163" rtl="0" eaLnBrk="1" latinLnBrk="0" hangingPunct="1">
        <a:defRPr sz="1800" kern="1200">
          <a:solidFill>
            <a:schemeClr val="tx1"/>
          </a:solidFill>
          <a:latin typeface="+mn-lt"/>
          <a:ea typeface="+mn-ea"/>
          <a:cs typeface="+mn-cs"/>
        </a:defRPr>
      </a:lvl5pPr>
      <a:lvl6pPr marL="2285407" algn="l" defTabSz="914163" rtl="0" eaLnBrk="1" latinLnBrk="0" hangingPunct="1">
        <a:defRPr sz="1800" kern="1200">
          <a:solidFill>
            <a:schemeClr val="tx1"/>
          </a:solidFill>
          <a:latin typeface="+mn-lt"/>
          <a:ea typeface="+mn-ea"/>
          <a:cs typeface="+mn-cs"/>
        </a:defRPr>
      </a:lvl6pPr>
      <a:lvl7pPr marL="2742489" algn="l" defTabSz="914163" rtl="0" eaLnBrk="1" latinLnBrk="0" hangingPunct="1">
        <a:defRPr sz="1800" kern="1200">
          <a:solidFill>
            <a:schemeClr val="tx1"/>
          </a:solidFill>
          <a:latin typeface="+mn-lt"/>
          <a:ea typeface="+mn-ea"/>
          <a:cs typeface="+mn-cs"/>
        </a:defRPr>
      </a:lvl7pPr>
      <a:lvl8pPr marL="3199569" algn="l" defTabSz="914163" rtl="0" eaLnBrk="1" latinLnBrk="0" hangingPunct="1">
        <a:defRPr sz="1800" kern="1200">
          <a:solidFill>
            <a:schemeClr val="tx1"/>
          </a:solidFill>
          <a:latin typeface="+mn-lt"/>
          <a:ea typeface="+mn-ea"/>
          <a:cs typeface="+mn-cs"/>
        </a:defRPr>
      </a:lvl8pPr>
      <a:lvl9pPr marL="3656651" algn="l" defTabSz="9141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Layout" Target="../slideLayouts/slideLayout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en-GB" dirty="0"/>
              <a:t>Issuing and holding securities in a blockchain</a:t>
            </a:r>
          </a:p>
        </p:txBody>
      </p:sp>
      <p:sp>
        <p:nvSpPr>
          <p:cNvPr id="4" name="Text Placeholder 3"/>
          <p:cNvSpPr>
            <a:spLocks noGrp="1"/>
          </p:cNvSpPr>
          <p:nvPr>
            <p:ph type="body" idx="13"/>
          </p:nvPr>
        </p:nvSpPr>
        <p:spPr/>
        <p:txBody>
          <a:bodyPr/>
          <a:lstStyle/>
          <a:p>
            <a:r>
              <a:rPr lang="en-GB" dirty="0"/>
              <a:t>Thiebald </a:t>
            </a:r>
            <a:r>
              <a:rPr lang="en-GB" dirty="0" err="1"/>
              <a:t>cremers</a:t>
            </a:r>
            <a:endParaRPr lang="en-GB" dirty="0"/>
          </a:p>
        </p:txBody>
      </p:sp>
      <p:sp>
        <p:nvSpPr>
          <p:cNvPr id="5" name="Text Placeholder 4"/>
          <p:cNvSpPr>
            <a:spLocks noGrp="1"/>
          </p:cNvSpPr>
          <p:nvPr>
            <p:ph type="body" idx="14"/>
          </p:nvPr>
        </p:nvSpPr>
        <p:spPr/>
        <p:txBody>
          <a:bodyPr/>
          <a:lstStyle/>
          <a:p>
            <a:r>
              <a:rPr lang="en-GB" dirty="0"/>
              <a:t>Malta, 4 May 2017</a:t>
            </a:r>
          </a:p>
        </p:txBody>
      </p:sp>
    </p:spTree>
    <p:extLst>
      <p:ext uri="{BB962C8B-B14F-4D97-AF65-F5344CB8AC3E}">
        <p14:creationId xmlns:p14="http://schemas.microsoft.com/office/powerpoint/2010/main" val="6706679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1"/>
              <a:t>Issuance in CSD and holding in securities accounts</a:t>
            </a:r>
          </a:p>
        </p:txBody>
      </p:sp>
      <p:sp>
        <p:nvSpPr>
          <p:cNvPr id="7" name="Footer Placeholder 6"/>
          <p:cNvSpPr>
            <a:spLocks noGrp="1"/>
          </p:cNvSpPr>
          <p:nvPr>
            <p:ph type="ftr" sz="quarter" idx="3"/>
          </p:nvPr>
        </p:nvSpPr>
        <p:spPr/>
        <p:txBody>
          <a:bodyPr/>
          <a:lstStyle/>
          <a:p>
            <a:r>
              <a:rPr lang="en-US" noProof="1"/>
              <a:t>Thiebald Cremers</a:t>
            </a:r>
          </a:p>
        </p:txBody>
      </p:sp>
      <p:sp>
        <p:nvSpPr>
          <p:cNvPr id="6" name="Date Placeholder 5"/>
          <p:cNvSpPr>
            <a:spLocks noGrp="1"/>
          </p:cNvSpPr>
          <p:nvPr>
            <p:ph type="dt" sz="half" idx="2"/>
          </p:nvPr>
        </p:nvSpPr>
        <p:spPr/>
        <p:txBody>
          <a:bodyPr/>
          <a:lstStyle/>
          <a:p>
            <a:r>
              <a:rPr lang="en-US" noProof="1"/>
              <a:t>|      |</a:t>
            </a:r>
          </a:p>
        </p:txBody>
      </p:sp>
      <p:sp>
        <p:nvSpPr>
          <p:cNvPr id="8" name="Slide Number Placeholder 7"/>
          <p:cNvSpPr>
            <a:spLocks noGrp="1"/>
          </p:cNvSpPr>
          <p:nvPr>
            <p:ph type="sldNum" sz="quarter" idx="4"/>
          </p:nvPr>
        </p:nvSpPr>
        <p:spPr/>
        <p:txBody>
          <a:bodyPr/>
          <a:lstStyle/>
          <a:p>
            <a:fld id="{BF6629C6-E8D8-4E6B-8015-798ECD15B16B}" type="slidenum">
              <a:rPr lang="en-US" noProof="1" dirty="0" smtClean="0"/>
              <a:pPr/>
              <a:t>2</a:t>
            </a:fld>
            <a:endParaRPr lang="en-US" noProof="1"/>
          </a:p>
        </p:txBody>
      </p:sp>
      <p:sp>
        <p:nvSpPr>
          <p:cNvPr id="2" name="Rectangle 1"/>
          <p:cNvSpPr/>
          <p:nvPr/>
        </p:nvSpPr>
        <p:spPr>
          <a:xfrm>
            <a:off x="576288" y="1296194"/>
            <a:ext cx="1944216" cy="93610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a:t>Issuer</a:t>
            </a:r>
            <a:endParaRPr lang="fr-FR" dirty="0"/>
          </a:p>
          <a:p>
            <a:pPr algn="ctr"/>
            <a:endParaRPr lang="fr-FR" dirty="0"/>
          </a:p>
        </p:txBody>
      </p:sp>
      <p:sp>
        <p:nvSpPr>
          <p:cNvPr id="9" name="Rectangle 8"/>
          <p:cNvSpPr/>
          <p:nvPr/>
        </p:nvSpPr>
        <p:spPr>
          <a:xfrm>
            <a:off x="3960664" y="1296194"/>
            <a:ext cx="1944216" cy="93610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CSD</a:t>
            </a:r>
          </a:p>
          <a:p>
            <a:pPr algn="ctr"/>
            <a:endParaRPr lang="fr-FR" dirty="0"/>
          </a:p>
        </p:txBody>
      </p:sp>
      <p:sp>
        <p:nvSpPr>
          <p:cNvPr id="10" name="AutoShape 8"/>
          <p:cNvSpPr>
            <a:spLocks noChangeArrowheads="1"/>
          </p:cNvSpPr>
          <p:nvPr/>
        </p:nvSpPr>
        <p:spPr bwMode="auto">
          <a:xfrm>
            <a:off x="2592512" y="1364185"/>
            <a:ext cx="1008112" cy="800121"/>
          </a:xfrm>
          <a:prstGeom prst="homePlate">
            <a:avLst>
              <a:gd name="adj" fmla="val 61226"/>
            </a:avLst>
          </a:prstGeom>
          <a:solidFill>
            <a:schemeClr val="accent1"/>
          </a:solidFill>
          <a:ln w="9525">
            <a:noFill/>
            <a:miter lim="800000"/>
            <a:headEnd/>
            <a:tailEnd/>
          </a:ln>
          <a:effectLst/>
          <a:extLst/>
        </p:spPr>
        <p:txBody>
          <a:bodyPr wrap="none" lIns="17993" tIns="17993" rIns="17993" bIns="17993" anchor="ctr"/>
          <a:lstStyle/>
          <a:p>
            <a:pPr indent="95200" eaLnBrk="0" hangingPunct="0">
              <a:spcAft>
                <a:spcPct val="15000"/>
              </a:spcAft>
              <a:buSzPct val="70000"/>
              <a:tabLst>
                <a:tab pos="95200" algn="l"/>
                <a:tab pos="476004" algn="l"/>
              </a:tabLst>
            </a:pPr>
            <a:r>
              <a:rPr lang="en-US" altLang="zh-TW" sz="1100" b="1" noProof="1">
                <a:solidFill>
                  <a:prstClr val="white"/>
                </a:solidFill>
                <a:ea typeface="PMingLiU" pitchFamily="18" charset="-120"/>
              </a:rPr>
              <a:t>1000</a:t>
            </a:r>
          </a:p>
          <a:p>
            <a:pPr indent="95200" eaLnBrk="0" hangingPunct="0">
              <a:spcAft>
                <a:spcPct val="15000"/>
              </a:spcAft>
              <a:buSzPct val="70000"/>
              <a:tabLst>
                <a:tab pos="95200" algn="l"/>
                <a:tab pos="476004" algn="l"/>
              </a:tabLst>
            </a:pPr>
            <a:r>
              <a:rPr lang="en-US" altLang="zh-TW" sz="1100" b="1" noProof="1">
                <a:solidFill>
                  <a:prstClr val="white"/>
                </a:solidFill>
                <a:ea typeface="PMingLiU" pitchFamily="18" charset="-120"/>
              </a:rPr>
              <a:t>shares</a:t>
            </a:r>
          </a:p>
        </p:txBody>
      </p:sp>
      <p:sp>
        <p:nvSpPr>
          <p:cNvPr id="11" name="Rectangle 10"/>
          <p:cNvSpPr/>
          <p:nvPr/>
        </p:nvSpPr>
        <p:spPr>
          <a:xfrm>
            <a:off x="3960664" y="2685892"/>
            <a:ext cx="1944216" cy="936104"/>
          </a:xfrm>
          <a:prstGeom prst="rect">
            <a:avLst/>
          </a:prstGeom>
          <a:solidFill>
            <a:srgbClr val="505A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a:t>intermediary</a:t>
            </a:r>
            <a:endParaRPr lang="fr-FR" dirty="0"/>
          </a:p>
          <a:p>
            <a:pPr algn="ctr"/>
            <a:endParaRPr lang="fr-FR" dirty="0"/>
          </a:p>
        </p:txBody>
      </p:sp>
      <p:sp>
        <p:nvSpPr>
          <p:cNvPr id="13" name="Rectangle 12"/>
          <p:cNvSpPr/>
          <p:nvPr/>
        </p:nvSpPr>
        <p:spPr>
          <a:xfrm>
            <a:off x="6271273" y="2685892"/>
            <a:ext cx="1944216" cy="936104"/>
          </a:xfrm>
          <a:prstGeom prst="rect">
            <a:avLst/>
          </a:prstGeom>
          <a:solidFill>
            <a:srgbClr val="505A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a:t>intermediary</a:t>
            </a:r>
            <a:endParaRPr lang="fr-FR" dirty="0"/>
          </a:p>
          <a:p>
            <a:pPr algn="ctr"/>
            <a:endParaRPr lang="fr-FR" dirty="0"/>
          </a:p>
        </p:txBody>
      </p:sp>
      <p:sp>
        <p:nvSpPr>
          <p:cNvPr id="14" name="Rectangle 13"/>
          <p:cNvSpPr/>
          <p:nvPr/>
        </p:nvSpPr>
        <p:spPr>
          <a:xfrm>
            <a:off x="3960664" y="3888482"/>
            <a:ext cx="1440160" cy="936104"/>
          </a:xfrm>
          <a:prstGeom prst="rect">
            <a:avLst/>
          </a:prstGeom>
          <a:solidFill>
            <a:srgbClr val="505A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err="1"/>
              <a:t>intermediary</a:t>
            </a:r>
            <a:endParaRPr lang="fr-FR" sz="1600" dirty="0"/>
          </a:p>
          <a:p>
            <a:pPr algn="ctr"/>
            <a:endParaRPr lang="fr-FR" dirty="0"/>
          </a:p>
        </p:txBody>
      </p:sp>
      <p:sp>
        <p:nvSpPr>
          <p:cNvPr id="15" name="Rectangle 14"/>
          <p:cNvSpPr/>
          <p:nvPr/>
        </p:nvSpPr>
        <p:spPr>
          <a:xfrm>
            <a:off x="5561134" y="3888482"/>
            <a:ext cx="1440160" cy="936104"/>
          </a:xfrm>
          <a:prstGeom prst="rect">
            <a:avLst/>
          </a:prstGeom>
          <a:solidFill>
            <a:srgbClr val="505A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err="1"/>
              <a:t>intermediary</a:t>
            </a:r>
            <a:endParaRPr lang="fr-FR" sz="1600" dirty="0"/>
          </a:p>
          <a:p>
            <a:pPr algn="ctr"/>
            <a:endParaRPr lang="fr-FR" dirty="0"/>
          </a:p>
        </p:txBody>
      </p:sp>
      <p:sp>
        <p:nvSpPr>
          <p:cNvPr id="16" name="Rectangle 15"/>
          <p:cNvSpPr/>
          <p:nvPr/>
        </p:nvSpPr>
        <p:spPr>
          <a:xfrm>
            <a:off x="2366504" y="3888482"/>
            <a:ext cx="1440160" cy="936104"/>
          </a:xfrm>
          <a:prstGeom prst="rect">
            <a:avLst/>
          </a:prstGeom>
          <a:solidFill>
            <a:srgbClr val="505A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err="1"/>
              <a:t>intermediary</a:t>
            </a:r>
            <a:endParaRPr lang="fr-FR" sz="1600" dirty="0"/>
          </a:p>
          <a:p>
            <a:pPr algn="ctr"/>
            <a:endParaRPr lang="fr-FR" dirty="0"/>
          </a:p>
        </p:txBody>
      </p:sp>
      <p:sp>
        <p:nvSpPr>
          <p:cNvPr id="17" name="AutoShape 12"/>
          <p:cNvSpPr>
            <a:spLocks noChangeArrowheads="1"/>
          </p:cNvSpPr>
          <p:nvPr/>
        </p:nvSpPr>
        <p:spPr bwMode="auto">
          <a:xfrm rot="16200000">
            <a:off x="5887894" y="4556450"/>
            <a:ext cx="215447" cy="800121"/>
          </a:xfrm>
          <a:prstGeom prst="homePlate">
            <a:avLst>
              <a:gd name="adj" fmla="val 61226"/>
            </a:avLst>
          </a:prstGeom>
          <a:solidFill>
            <a:srgbClr val="6473AF"/>
          </a:solidFill>
          <a:ln w="9525">
            <a:noFill/>
            <a:miter lim="800000"/>
            <a:headEnd/>
            <a:tailEnd/>
          </a:ln>
          <a:effectLst/>
          <a:extLst/>
        </p:spPr>
        <p:txBody>
          <a:bodyPr wrap="none" lIns="17993" tIns="17993" rIns="17993" bIns="17993" anchor="ctr"/>
          <a:lstStyle/>
          <a:p>
            <a:pPr indent="95200" eaLnBrk="0" hangingPunct="0">
              <a:spcAft>
                <a:spcPct val="15000"/>
              </a:spcAft>
              <a:buSzPct val="70000"/>
              <a:tabLst>
                <a:tab pos="95200" algn="l"/>
                <a:tab pos="476004" algn="l"/>
              </a:tabLst>
            </a:pPr>
            <a:endParaRPr lang="en-US" altLang="zh-TW" sz="1100" noProof="1">
              <a:solidFill>
                <a:prstClr val="white"/>
              </a:solidFill>
              <a:latin typeface="Times New Roman" pitchFamily="18" charset="0"/>
              <a:ea typeface="PMingLiU" pitchFamily="18" charset="-120"/>
            </a:endParaRPr>
          </a:p>
        </p:txBody>
      </p:sp>
      <p:sp>
        <p:nvSpPr>
          <p:cNvPr id="18" name="AutoShape 12"/>
          <p:cNvSpPr>
            <a:spLocks noChangeArrowheads="1"/>
          </p:cNvSpPr>
          <p:nvPr/>
        </p:nvSpPr>
        <p:spPr bwMode="auto">
          <a:xfrm rot="16200000">
            <a:off x="4253001" y="2156607"/>
            <a:ext cx="215447" cy="800121"/>
          </a:xfrm>
          <a:prstGeom prst="homePlate">
            <a:avLst>
              <a:gd name="adj" fmla="val 61226"/>
            </a:avLst>
          </a:prstGeom>
          <a:solidFill>
            <a:srgbClr val="6473AF"/>
          </a:solidFill>
          <a:ln w="9525">
            <a:noFill/>
            <a:miter lim="800000"/>
            <a:headEnd/>
            <a:tailEnd/>
          </a:ln>
          <a:effectLst/>
          <a:extLst/>
        </p:spPr>
        <p:txBody>
          <a:bodyPr wrap="none" lIns="17993" tIns="17993" rIns="17993" bIns="17993" anchor="ctr"/>
          <a:lstStyle/>
          <a:p>
            <a:pPr indent="95200" eaLnBrk="0" hangingPunct="0">
              <a:spcAft>
                <a:spcPct val="15000"/>
              </a:spcAft>
              <a:buSzPct val="70000"/>
              <a:tabLst>
                <a:tab pos="95200" algn="l"/>
                <a:tab pos="476004" algn="l"/>
              </a:tabLst>
            </a:pPr>
            <a:endParaRPr lang="en-US" altLang="zh-TW" sz="1100" noProof="1">
              <a:solidFill>
                <a:prstClr val="white"/>
              </a:solidFill>
              <a:latin typeface="Times New Roman" pitchFamily="18" charset="0"/>
              <a:ea typeface="PMingLiU" pitchFamily="18" charset="-120"/>
            </a:endParaRPr>
          </a:p>
        </p:txBody>
      </p:sp>
      <p:sp>
        <p:nvSpPr>
          <p:cNvPr id="19" name="AutoShape 12"/>
          <p:cNvSpPr>
            <a:spLocks noChangeArrowheads="1"/>
          </p:cNvSpPr>
          <p:nvPr/>
        </p:nvSpPr>
        <p:spPr bwMode="auto">
          <a:xfrm rot="16200000">
            <a:off x="6573551" y="2127069"/>
            <a:ext cx="215447" cy="800121"/>
          </a:xfrm>
          <a:prstGeom prst="homePlate">
            <a:avLst>
              <a:gd name="adj" fmla="val 61226"/>
            </a:avLst>
          </a:prstGeom>
          <a:solidFill>
            <a:srgbClr val="6473AF"/>
          </a:solidFill>
          <a:ln w="9525">
            <a:noFill/>
            <a:miter lim="800000"/>
            <a:headEnd/>
            <a:tailEnd/>
          </a:ln>
          <a:effectLst/>
          <a:extLst/>
        </p:spPr>
        <p:txBody>
          <a:bodyPr wrap="none" lIns="17993" tIns="17993" rIns="17993" bIns="17993" anchor="ctr"/>
          <a:lstStyle/>
          <a:p>
            <a:pPr indent="95200" eaLnBrk="0" hangingPunct="0">
              <a:spcAft>
                <a:spcPct val="15000"/>
              </a:spcAft>
              <a:buSzPct val="70000"/>
              <a:tabLst>
                <a:tab pos="95200" algn="l"/>
                <a:tab pos="476004" algn="l"/>
              </a:tabLst>
            </a:pPr>
            <a:endParaRPr lang="en-US" altLang="zh-TW" sz="1100" noProof="1">
              <a:solidFill>
                <a:prstClr val="white"/>
              </a:solidFill>
              <a:latin typeface="Times New Roman" pitchFamily="18" charset="0"/>
              <a:ea typeface="PMingLiU" pitchFamily="18" charset="-120"/>
            </a:endParaRPr>
          </a:p>
        </p:txBody>
      </p:sp>
      <p:sp>
        <p:nvSpPr>
          <p:cNvPr id="20" name="AutoShape 12"/>
          <p:cNvSpPr>
            <a:spLocks noChangeArrowheads="1"/>
          </p:cNvSpPr>
          <p:nvPr/>
        </p:nvSpPr>
        <p:spPr bwMode="auto">
          <a:xfrm rot="16200000">
            <a:off x="5734709" y="3349900"/>
            <a:ext cx="215447" cy="800121"/>
          </a:xfrm>
          <a:prstGeom prst="homePlate">
            <a:avLst>
              <a:gd name="adj" fmla="val 61226"/>
            </a:avLst>
          </a:prstGeom>
          <a:solidFill>
            <a:srgbClr val="6473AF"/>
          </a:solidFill>
          <a:ln w="9525">
            <a:noFill/>
            <a:miter lim="800000"/>
            <a:headEnd/>
            <a:tailEnd/>
          </a:ln>
          <a:effectLst/>
          <a:extLst/>
        </p:spPr>
        <p:txBody>
          <a:bodyPr wrap="none" lIns="17993" tIns="17993" rIns="17993" bIns="17993" anchor="ctr"/>
          <a:lstStyle/>
          <a:p>
            <a:pPr indent="95200" eaLnBrk="0" hangingPunct="0">
              <a:spcAft>
                <a:spcPct val="15000"/>
              </a:spcAft>
              <a:buSzPct val="70000"/>
              <a:tabLst>
                <a:tab pos="95200" algn="l"/>
                <a:tab pos="476004" algn="l"/>
              </a:tabLst>
            </a:pPr>
            <a:endParaRPr lang="en-US" altLang="zh-TW" sz="1100" noProof="1">
              <a:solidFill>
                <a:prstClr val="white"/>
              </a:solidFill>
              <a:latin typeface="Times New Roman" pitchFamily="18" charset="0"/>
              <a:ea typeface="PMingLiU" pitchFamily="18" charset="-120"/>
            </a:endParaRPr>
          </a:p>
        </p:txBody>
      </p:sp>
      <p:sp>
        <p:nvSpPr>
          <p:cNvPr id="21" name="AutoShape 12"/>
          <p:cNvSpPr>
            <a:spLocks noChangeArrowheads="1"/>
          </p:cNvSpPr>
          <p:nvPr/>
        </p:nvSpPr>
        <p:spPr bwMode="auto">
          <a:xfrm rot="16200000">
            <a:off x="4253000" y="3351159"/>
            <a:ext cx="215447" cy="800121"/>
          </a:xfrm>
          <a:prstGeom prst="homePlate">
            <a:avLst>
              <a:gd name="adj" fmla="val 61226"/>
            </a:avLst>
          </a:prstGeom>
          <a:solidFill>
            <a:srgbClr val="6473AF"/>
          </a:solidFill>
          <a:ln w="9525">
            <a:noFill/>
            <a:miter lim="800000"/>
            <a:headEnd/>
            <a:tailEnd/>
          </a:ln>
          <a:effectLst/>
          <a:extLst/>
        </p:spPr>
        <p:txBody>
          <a:bodyPr wrap="none" lIns="17993" tIns="17993" rIns="17993" bIns="17993" anchor="ctr"/>
          <a:lstStyle/>
          <a:p>
            <a:pPr indent="95200" eaLnBrk="0" hangingPunct="0">
              <a:spcAft>
                <a:spcPct val="15000"/>
              </a:spcAft>
              <a:buSzPct val="70000"/>
              <a:tabLst>
                <a:tab pos="95200" algn="l"/>
                <a:tab pos="476004" algn="l"/>
              </a:tabLst>
            </a:pPr>
            <a:endParaRPr lang="en-US" altLang="zh-TW" sz="1100" noProof="1">
              <a:solidFill>
                <a:prstClr val="white"/>
              </a:solidFill>
              <a:latin typeface="Times New Roman" pitchFamily="18" charset="0"/>
              <a:ea typeface="PMingLiU" pitchFamily="18" charset="-120"/>
            </a:endParaRPr>
          </a:p>
        </p:txBody>
      </p:sp>
      <p:sp>
        <p:nvSpPr>
          <p:cNvPr id="22" name="AutoShape 12"/>
          <p:cNvSpPr>
            <a:spLocks noChangeArrowheads="1"/>
          </p:cNvSpPr>
          <p:nvPr/>
        </p:nvSpPr>
        <p:spPr bwMode="auto">
          <a:xfrm rot="16200000">
            <a:off x="2658841" y="3351159"/>
            <a:ext cx="215447" cy="800121"/>
          </a:xfrm>
          <a:prstGeom prst="homePlate">
            <a:avLst>
              <a:gd name="adj" fmla="val 61226"/>
            </a:avLst>
          </a:prstGeom>
          <a:solidFill>
            <a:srgbClr val="6473AF"/>
          </a:solidFill>
          <a:ln w="9525">
            <a:noFill/>
            <a:miter lim="800000"/>
            <a:headEnd/>
            <a:tailEnd/>
          </a:ln>
          <a:effectLst/>
          <a:extLst/>
        </p:spPr>
        <p:txBody>
          <a:bodyPr wrap="none" lIns="17993" tIns="17993" rIns="17993" bIns="17993" anchor="ctr"/>
          <a:lstStyle/>
          <a:p>
            <a:pPr indent="95200" eaLnBrk="0" hangingPunct="0">
              <a:spcAft>
                <a:spcPct val="15000"/>
              </a:spcAft>
              <a:buSzPct val="70000"/>
              <a:tabLst>
                <a:tab pos="95200" algn="l"/>
                <a:tab pos="476004" algn="l"/>
              </a:tabLst>
            </a:pPr>
            <a:endParaRPr lang="en-US" altLang="zh-TW" sz="1100" noProof="1">
              <a:solidFill>
                <a:prstClr val="white"/>
              </a:solidFill>
              <a:latin typeface="Times New Roman" pitchFamily="18" charset="0"/>
              <a:ea typeface="PMingLiU" pitchFamily="18" charset="-120"/>
            </a:endParaRPr>
          </a:p>
        </p:txBody>
      </p:sp>
      <p:sp>
        <p:nvSpPr>
          <p:cNvPr id="23" name="Rectangle 22"/>
          <p:cNvSpPr/>
          <p:nvPr/>
        </p:nvSpPr>
        <p:spPr>
          <a:xfrm>
            <a:off x="5595557" y="5091072"/>
            <a:ext cx="1440160" cy="936104"/>
          </a:xfrm>
          <a:prstGeom prst="rect">
            <a:avLst/>
          </a:prstGeom>
          <a:solidFill>
            <a:srgbClr val="505A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err="1"/>
              <a:t>intermediary</a:t>
            </a:r>
            <a:endParaRPr lang="fr-FR" sz="1600" dirty="0"/>
          </a:p>
          <a:p>
            <a:pPr algn="ctr"/>
            <a:endParaRPr lang="fr-FR" dirty="0"/>
          </a:p>
        </p:txBody>
      </p:sp>
      <p:sp>
        <p:nvSpPr>
          <p:cNvPr id="24" name="Rectangle 23"/>
          <p:cNvSpPr/>
          <p:nvPr/>
        </p:nvSpPr>
        <p:spPr>
          <a:xfrm>
            <a:off x="2366504" y="4911855"/>
            <a:ext cx="972108" cy="5574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err="1"/>
              <a:t>investor</a:t>
            </a:r>
            <a:endParaRPr lang="fr-FR" sz="1600" dirty="0"/>
          </a:p>
          <a:p>
            <a:pPr algn="ctr"/>
            <a:endParaRPr lang="fr-FR" dirty="0"/>
          </a:p>
        </p:txBody>
      </p:sp>
      <p:sp>
        <p:nvSpPr>
          <p:cNvPr id="25" name="Rectangle 24"/>
          <p:cNvSpPr/>
          <p:nvPr/>
        </p:nvSpPr>
        <p:spPr>
          <a:xfrm>
            <a:off x="7311549" y="4941551"/>
            <a:ext cx="972108" cy="5574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err="1"/>
              <a:t>investor</a:t>
            </a:r>
            <a:endParaRPr lang="fr-FR" sz="1600" dirty="0"/>
          </a:p>
          <a:p>
            <a:pPr algn="ctr"/>
            <a:endParaRPr lang="fr-FR" dirty="0"/>
          </a:p>
        </p:txBody>
      </p:sp>
      <p:sp>
        <p:nvSpPr>
          <p:cNvPr id="26" name="Rectangle 25"/>
          <p:cNvSpPr/>
          <p:nvPr/>
        </p:nvSpPr>
        <p:spPr>
          <a:xfrm>
            <a:off x="7311549" y="5616674"/>
            <a:ext cx="972108" cy="5574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err="1"/>
              <a:t>investor</a:t>
            </a:r>
            <a:endParaRPr lang="fr-FR" sz="1600" dirty="0"/>
          </a:p>
          <a:p>
            <a:pPr algn="ctr"/>
            <a:endParaRPr lang="fr-FR" dirty="0"/>
          </a:p>
        </p:txBody>
      </p:sp>
      <p:sp>
        <p:nvSpPr>
          <p:cNvPr id="27" name="Rectangle 26"/>
          <p:cNvSpPr/>
          <p:nvPr/>
        </p:nvSpPr>
        <p:spPr>
          <a:xfrm>
            <a:off x="4446718" y="4926592"/>
            <a:ext cx="972108" cy="5574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err="1"/>
              <a:t>investor</a:t>
            </a:r>
            <a:endParaRPr lang="fr-FR" sz="1600" dirty="0"/>
          </a:p>
          <a:p>
            <a:pPr algn="ctr"/>
            <a:endParaRPr lang="fr-FR" dirty="0"/>
          </a:p>
        </p:txBody>
      </p:sp>
      <p:sp>
        <p:nvSpPr>
          <p:cNvPr id="28" name="Rectangle 27"/>
          <p:cNvSpPr/>
          <p:nvPr/>
        </p:nvSpPr>
        <p:spPr>
          <a:xfrm>
            <a:off x="3960664" y="5606989"/>
            <a:ext cx="972108" cy="5574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err="1"/>
              <a:t>investor</a:t>
            </a:r>
            <a:endParaRPr lang="fr-FR" sz="1600" dirty="0"/>
          </a:p>
          <a:p>
            <a:pPr algn="ctr"/>
            <a:endParaRPr lang="fr-FR" dirty="0"/>
          </a:p>
        </p:txBody>
      </p:sp>
      <p:sp>
        <p:nvSpPr>
          <p:cNvPr id="29" name="Rectangle 28"/>
          <p:cNvSpPr/>
          <p:nvPr/>
        </p:nvSpPr>
        <p:spPr>
          <a:xfrm>
            <a:off x="1062342" y="4270316"/>
            <a:ext cx="972108" cy="5574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err="1"/>
              <a:t>investor</a:t>
            </a:r>
            <a:endParaRPr lang="fr-FR" sz="1600" dirty="0"/>
          </a:p>
          <a:p>
            <a:pPr algn="ctr"/>
            <a:endParaRPr lang="fr-FR" dirty="0"/>
          </a:p>
        </p:txBody>
      </p:sp>
      <p:sp>
        <p:nvSpPr>
          <p:cNvPr id="30" name="AutoShape 12"/>
          <p:cNvSpPr>
            <a:spLocks noChangeArrowheads="1"/>
          </p:cNvSpPr>
          <p:nvPr/>
        </p:nvSpPr>
        <p:spPr bwMode="auto">
          <a:xfrm rot="16200000">
            <a:off x="2664167" y="4398443"/>
            <a:ext cx="215447" cy="800121"/>
          </a:xfrm>
          <a:prstGeom prst="homePlate">
            <a:avLst>
              <a:gd name="adj" fmla="val 61226"/>
            </a:avLst>
          </a:prstGeom>
          <a:solidFill>
            <a:schemeClr val="accent4">
              <a:lumMod val="40000"/>
              <a:lumOff val="60000"/>
            </a:schemeClr>
          </a:solidFill>
          <a:ln w="9525">
            <a:noFill/>
            <a:miter lim="800000"/>
            <a:headEnd/>
            <a:tailEnd/>
          </a:ln>
          <a:effectLst/>
          <a:extLst/>
        </p:spPr>
        <p:txBody>
          <a:bodyPr wrap="none" lIns="17993" tIns="17993" rIns="17993" bIns="17993" anchor="ctr"/>
          <a:lstStyle/>
          <a:p>
            <a:pPr indent="95200" eaLnBrk="0" hangingPunct="0">
              <a:spcAft>
                <a:spcPct val="15000"/>
              </a:spcAft>
              <a:buSzPct val="70000"/>
              <a:tabLst>
                <a:tab pos="95200" algn="l"/>
                <a:tab pos="476004" algn="l"/>
              </a:tabLst>
            </a:pPr>
            <a:endParaRPr lang="en-US" altLang="zh-TW" sz="1100" noProof="1">
              <a:solidFill>
                <a:prstClr val="white"/>
              </a:solidFill>
              <a:latin typeface="Times New Roman" pitchFamily="18" charset="0"/>
              <a:ea typeface="PMingLiU" pitchFamily="18" charset="-120"/>
            </a:endParaRPr>
          </a:p>
        </p:txBody>
      </p:sp>
      <p:sp>
        <p:nvSpPr>
          <p:cNvPr id="31" name="AutoShape 12"/>
          <p:cNvSpPr>
            <a:spLocks noChangeArrowheads="1"/>
          </p:cNvSpPr>
          <p:nvPr/>
        </p:nvSpPr>
        <p:spPr bwMode="auto">
          <a:xfrm rot="16200000">
            <a:off x="4253000" y="5108890"/>
            <a:ext cx="215447" cy="800121"/>
          </a:xfrm>
          <a:prstGeom prst="homePlate">
            <a:avLst>
              <a:gd name="adj" fmla="val 61226"/>
            </a:avLst>
          </a:prstGeom>
          <a:solidFill>
            <a:schemeClr val="accent4">
              <a:lumMod val="40000"/>
              <a:lumOff val="60000"/>
            </a:schemeClr>
          </a:solidFill>
          <a:ln w="9525">
            <a:noFill/>
            <a:miter lim="800000"/>
            <a:headEnd/>
            <a:tailEnd/>
          </a:ln>
          <a:effectLst/>
          <a:extLst/>
        </p:spPr>
        <p:txBody>
          <a:bodyPr wrap="none" lIns="17993" tIns="17993" rIns="17993" bIns="17993" anchor="ctr"/>
          <a:lstStyle/>
          <a:p>
            <a:pPr indent="95200" eaLnBrk="0" hangingPunct="0">
              <a:spcAft>
                <a:spcPct val="15000"/>
              </a:spcAft>
              <a:buSzPct val="70000"/>
              <a:tabLst>
                <a:tab pos="95200" algn="l"/>
                <a:tab pos="476004" algn="l"/>
              </a:tabLst>
            </a:pPr>
            <a:endParaRPr lang="en-US" altLang="zh-TW" sz="1100" noProof="1">
              <a:solidFill>
                <a:prstClr val="white"/>
              </a:solidFill>
              <a:latin typeface="Times New Roman" pitchFamily="18" charset="0"/>
              <a:ea typeface="PMingLiU" pitchFamily="18" charset="-120"/>
            </a:endParaRPr>
          </a:p>
        </p:txBody>
      </p:sp>
      <p:sp>
        <p:nvSpPr>
          <p:cNvPr id="32" name="AutoShape 12"/>
          <p:cNvSpPr>
            <a:spLocks noChangeArrowheads="1"/>
          </p:cNvSpPr>
          <p:nvPr/>
        </p:nvSpPr>
        <p:spPr bwMode="auto">
          <a:xfrm rot="16200000">
            <a:off x="4739055" y="4421795"/>
            <a:ext cx="215447" cy="800121"/>
          </a:xfrm>
          <a:prstGeom prst="homePlate">
            <a:avLst>
              <a:gd name="adj" fmla="val 61226"/>
            </a:avLst>
          </a:prstGeom>
          <a:solidFill>
            <a:schemeClr val="accent4">
              <a:lumMod val="40000"/>
              <a:lumOff val="60000"/>
            </a:schemeClr>
          </a:solidFill>
          <a:ln w="9525">
            <a:noFill/>
            <a:miter lim="800000"/>
            <a:headEnd/>
            <a:tailEnd/>
          </a:ln>
          <a:effectLst/>
          <a:extLst/>
        </p:spPr>
        <p:txBody>
          <a:bodyPr wrap="none" lIns="17993" tIns="17993" rIns="17993" bIns="17993" anchor="ctr"/>
          <a:lstStyle/>
          <a:p>
            <a:pPr indent="95200" eaLnBrk="0" hangingPunct="0">
              <a:spcAft>
                <a:spcPct val="15000"/>
              </a:spcAft>
              <a:buSzPct val="70000"/>
              <a:tabLst>
                <a:tab pos="95200" algn="l"/>
                <a:tab pos="476004" algn="l"/>
              </a:tabLst>
            </a:pPr>
            <a:endParaRPr lang="en-US" altLang="zh-TW" sz="1100" noProof="1">
              <a:solidFill>
                <a:prstClr val="white"/>
              </a:solidFill>
              <a:latin typeface="Times New Roman" pitchFamily="18" charset="0"/>
              <a:ea typeface="PMingLiU" pitchFamily="18" charset="-120"/>
            </a:endParaRPr>
          </a:p>
        </p:txBody>
      </p:sp>
      <p:sp>
        <p:nvSpPr>
          <p:cNvPr id="33" name="AutoShape 12"/>
          <p:cNvSpPr>
            <a:spLocks noChangeArrowheads="1"/>
          </p:cNvSpPr>
          <p:nvPr/>
        </p:nvSpPr>
        <p:spPr bwMode="auto">
          <a:xfrm>
            <a:off x="2056581" y="4141430"/>
            <a:ext cx="215447" cy="800121"/>
          </a:xfrm>
          <a:prstGeom prst="homePlate">
            <a:avLst>
              <a:gd name="adj" fmla="val 61226"/>
            </a:avLst>
          </a:prstGeom>
          <a:solidFill>
            <a:schemeClr val="accent4">
              <a:lumMod val="40000"/>
              <a:lumOff val="60000"/>
            </a:schemeClr>
          </a:solidFill>
          <a:ln w="9525">
            <a:noFill/>
            <a:miter lim="800000"/>
            <a:headEnd/>
            <a:tailEnd/>
          </a:ln>
          <a:effectLst/>
          <a:extLst/>
        </p:spPr>
        <p:txBody>
          <a:bodyPr wrap="none" lIns="17993" tIns="17993" rIns="17993" bIns="17993" anchor="ctr"/>
          <a:lstStyle/>
          <a:p>
            <a:pPr indent="95200" eaLnBrk="0" hangingPunct="0">
              <a:spcAft>
                <a:spcPct val="15000"/>
              </a:spcAft>
              <a:buSzPct val="70000"/>
              <a:tabLst>
                <a:tab pos="95200" algn="l"/>
                <a:tab pos="476004" algn="l"/>
              </a:tabLst>
            </a:pPr>
            <a:endParaRPr lang="en-US" altLang="zh-TW" sz="1100" noProof="1">
              <a:solidFill>
                <a:prstClr val="white"/>
              </a:solidFill>
              <a:latin typeface="Times New Roman" pitchFamily="18" charset="0"/>
              <a:ea typeface="PMingLiU" pitchFamily="18" charset="-120"/>
            </a:endParaRPr>
          </a:p>
        </p:txBody>
      </p:sp>
      <p:sp>
        <p:nvSpPr>
          <p:cNvPr id="34" name="AutoShape 12"/>
          <p:cNvSpPr>
            <a:spLocks noChangeArrowheads="1"/>
          </p:cNvSpPr>
          <p:nvPr/>
        </p:nvSpPr>
        <p:spPr bwMode="auto">
          <a:xfrm rot="10800000">
            <a:off x="7015004" y="4697642"/>
            <a:ext cx="215447" cy="800121"/>
          </a:xfrm>
          <a:prstGeom prst="homePlate">
            <a:avLst>
              <a:gd name="adj" fmla="val 61226"/>
            </a:avLst>
          </a:prstGeom>
          <a:solidFill>
            <a:schemeClr val="accent4">
              <a:lumMod val="40000"/>
              <a:lumOff val="60000"/>
            </a:schemeClr>
          </a:solidFill>
          <a:ln w="9525">
            <a:noFill/>
            <a:miter lim="800000"/>
            <a:headEnd/>
            <a:tailEnd/>
          </a:ln>
          <a:effectLst/>
          <a:extLst/>
        </p:spPr>
        <p:txBody>
          <a:bodyPr wrap="none" lIns="17993" tIns="17993" rIns="17993" bIns="17993" anchor="ctr"/>
          <a:lstStyle/>
          <a:p>
            <a:pPr indent="95200" eaLnBrk="0" hangingPunct="0">
              <a:spcAft>
                <a:spcPct val="15000"/>
              </a:spcAft>
              <a:buSzPct val="70000"/>
              <a:tabLst>
                <a:tab pos="95200" algn="l"/>
                <a:tab pos="476004" algn="l"/>
              </a:tabLst>
            </a:pPr>
            <a:endParaRPr lang="en-US" altLang="zh-TW" sz="1100" noProof="1">
              <a:solidFill>
                <a:prstClr val="white"/>
              </a:solidFill>
              <a:latin typeface="Times New Roman" pitchFamily="18" charset="0"/>
              <a:ea typeface="PMingLiU" pitchFamily="18" charset="-120"/>
            </a:endParaRPr>
          </a:p>
        </p:txBody>
      </p:sp>
      <p:sp>
        <p:nvSpPr>
          <p:cNvPr id="35" name="AutoShape 12"/>
          <p:cNvSpPr>
            <a:spLocks noChangeArrowheads="1"/>
          </p:cNvSpPr>
          <p:nvPr/>
        </p:nvSpPr>
        <p:spPr bwMode="auto">
          <a:xfrm rot="10800000">
            <a:off x="7027934" y="5616674"/>
            <a:ext cx="215447" cy="800121"/>
          </a:xfrm>
          <a:prstGeom prst="homePlate">
            <a:avLst>
              <a:gd name="adj" fmla="val 61226"/>
            </a:avLst>
          </a:prstGeom>
          <a:solidFill>
            <a:schemeClr val="accent4">
              <a:lumMod val="40000"/>
              <a:lumOff val="60000"/>
            </a:schemeClr>
          </a:solidFill>
          <a:ln w="9525">
            <a:noFill/>
            <a:miter lim="800000"/>
            <a:headEnd/>
            <a:tailEnd/>
          </a:ln>
          <a:effectLst/>
          <a:extLst/>
        </p:spPr>
        <p:txBody>
          <a:bodyPr wrap="none" lIns="17993" tIns="17993" rIns="17993" bIns="17993" anchor="ctr"/>
          <a:lstStyle/>
          <a:p>
            <a:pPr indent="95200" eaLnBrk="0" hangingPunct="0">
              <a:spcAft>
                <a:spcPct val="15000"/>
              </a:spcAft>
              <a:buSzPct val="70000"/>
              <a:tabLst>
                <a:tab pos="95200" algn="l"/>
                <a:tab pos="476004" algn="l"/>
              </a:tabLst>
            </a:pPr>
            <a:endParaRPr lang="en-US" altLang="zh-TW" sz="1100" noProof="1">
              <a:solidFill>
                <a:prstClr val="white"/>
              </a:solidFill>
              <a:latin typeface="Times New Roman" pitchFamily="18" charset="0"/>
              <a:ea typeface="PMingLiU" pitchFamily="18" charset="-120"/>
            </a:endParaRPr>
          </a:p>
        </p:txBody>
      </p:sp>
      <p:pic>
        <p:nvPicPr>
          <p:cNvPr id="36" name="Picture 19" descr="Z:\4-Libraries\Icons png\Flags\malta.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88477" y="1814008"/>
            <a:ext cx="364557" cy="373892"/>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9" descr="Z:\4-Libraries\Icons png\Flags\malta.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4078578" y="1790414"/>
            <a:ext cx="364557" cy="373892"/>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9" descr="Z:\4-Libraries\Icons png\Flags\malta.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4078578" y="3211402"/>
            <a:ext cx="364557" cy="373892"/>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8" descr="Z:\4-Libraries\Icons png\Flags\france.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361255" y="3230631"/>
            <a:ext cx="364557" cy="373892"/>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5" descr="Z:\4-Libraries\Icons png\Flags\belgium.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641363" y="4412751"/>
            <a:ext cx="364557" cy="373892"/>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8" descr="Z:\4-Libraries\Icons png\Flags\france.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888200" y="5139057"/>
            <a:ext cx="364557" cy="373892"/>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9" descr="Z:\4-Libraries\Icons png\Flags\germany.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7879970" y="5824863"/>
            <a:ext cx="364557" cy="373892"/>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9" descr="Z:\4-Libraries\Icons png\Flags\germany.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722601" y="5601369"/>
            <a:ext cx="364557" cy="373892"/>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27" descr="Z:\4-Libraries\Icons png\Flags\united kingdom.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4014729" y="4395966"/>
            <a:ext cx="364557" cy="373892"/>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27" descr="Z:\4-Libraries\Icons png\Flags\united kingdom.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008173" y="5110163"/>
            <a:ext cx="364557" cy="373892"/>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27" descr="Z:\4-Libraries\Icons png\Flags\united kingdom.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4524441" y="5801824"/>
            <a:ext cx="364557" cy="373892"/>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8" descr="Z:\4-Libraries\Icons png\Flags\usa.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380134" y="4412751"/>
            <a:ext cx="364557" cy="373892"/>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28" descr="Z:\4-Libraries\Icons png\Flags\usa.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2925925" y="5110163"/>
            <a:ext cx="364557" cy="373892"/>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28" descr="Z:\4-Libraries\Icons png\Flags\usa.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081197" y="4476473"/>
            <a:ext cx="364557" cy="3738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18125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p:cNvSpPr>
            <a:spLocks noGrp="1"/>
          </p:cNvSpPr>
          <p:nvPr>
            <p:ph type="ftr" sz="quarter" idx="3"/>
          </p:nvPr>
        </p:nvSpPr>
        <p:spPr/>
        <p:txBody>
          <a:bodyPr/>
          <a:lstStyle/>
          <a:p>
            <a:r>
              <a:rPr lang="en-GB" noProof="1"/>
              <a:t> </a:t>
            </a:r>
          </a:p>
        </p:txBody>
      </p:sp>
      <p:sp>
        <p:nvSpPr>
          <p:cNvPr id="9" name="Date Placeholder 8"/>
          <p:cNvSpPr>
            <a:spLocks noGrp="1"/>
          </p:cNvSpPr>
          <p:nvPr>
            <p:ph type="dt" sz="half" idx="2"/>
          </p:nvPr>
        </p:nvSpPr>
        <p:spPr/>
        <p:txBody>
          <a:bodyPr/>
          <a:lstStyle/>
          <a:p>
            <a:r>
              <a:rPr lang="en-US" noProof="1"/>
              <a:t>|      |</a:t>
            </a:r>
            <a:endParaRPr lang="en-GB" noProof="1"/>
          </a:p>
        </p:txBody>
      </p:sp>
      <p:sp>
        <p:nvSpPr>
          <p:cNvPr id="11" name="Slide Number Placeholder 10"/>
          <p:cNvSpPr>
            <a:spLocks noGrp="1"/>
          </p:cNvSpPr>
          <p:nvPr>
            <p:ph type="sldNum" sz="quarter" idx="4"/>
          </p:nvPr>
        </p:nvSpPr>
        <p:spPr/>
        <p:txBody>
          <a:bodyPr/>
          <a:lstStyle/>
          <a:p>
            <a:fld id="{BF6629C6-E8D8-4E6B-8015-798ECD15B16B}" type="slidenum">
              <a:rPr lang="en-GB" noProof="1" dirty="0" smtClean="0"/>
              <a:pPr/>
              <a:t>3</a:t>
            </a:fld>
            <a:endParaRPr lang="en-GB" noProof="1"/>
          </a:p>
        </p:txBody>
      </p:sp>
      <p:sp>
        <p:nvSpPr>
          <p:cNvPr id="2" name="Title 1"/>
          <p:cNvSpPr>
            <a:spLocks noGrp="1"/>
          </p:cNvSpPr>
          <p:nvPr>
            <p:ph type="title"/>
          </p:nvPr>
        </p:nvSpPr>
        <p:spPr/>
        <p:txBody>
          <a:bodyPr/>
          <a:lstStyle/>
          <a:p>
            <a:r>
              <a:rPr lang="en-GB" noProof="1"/>
              <a:t>Issuance and holding in distributed ledger</a:t>
            </a:r>
          </a:p>
        </p:txBody>
      </p:sp>
      <p:grpSp>
        <p:nvGrpSpPr>
          <p:cNvPr id="8" name="Group 7"/>
          <p:cNvGrpSpPr/>
          <p:nvPr/>
        </p:nvGrpSpPr>
        <p:grpSpPr>
          <a:xfrm>
            <a:off x="2732140" y="1512218"/>
            <a:ext cx="3899319" cy="3922736"/>
            <a:chOff x="4922821" y="1765946"/>
            <a:chExt cx="3899319" cy="3922736"/>
          </a:xfrm>
        </p:grpSpPr>
        <p:grpSp>
          <p:nvGrpSpPr>
            <p:cNvPr id="5" name="Group 4"/>
            <p:cNvGrpSpPr/>
            <p:nvPr/>
          </p:nvGrpSpPr>
          <p:grpSpPr>
            <a:xfrm>
              <a:off x="4922821" y="1765946"/>
              <a:ext cx="3899319" cy="3922736"/>
              <a:chOff x="2402418" y="1301750"/>
              <a:chExt cx="4569954" cy="4597400"/>
            </a:xfrm>
            <a:solidFill>
              <a:schemeClr val="accent1">
                <a:lumMod val="75000"/>
              </a:schemeClr>
            </a:solidFill>
          </p:grpSpPr>
          <p:sp>
            <p:nvSpPr>
              <p:cNvPr id="25" name="Freeform 24"/>
              <p:cNvSpPr>
                <a:spLocks/>
              </p:cNvSpPr>
              <p:nvPr/>
            </p:nvSpPr>
            <p:spPr bwMode="auto">
              <a:xfrm>
                <a:off x="2537356" y="1301750"/>
                <a:ext cx="2195513" cy="1651000"/>
              </a:xfrm>
              <a:custGeom>
                <a:avLst/>
                <a:gdLst/>
                <a:ahLst/>
                <a:cxnLst>
                  <a:cxn ang="0">
                    <a:pos x="0" y="260"/>
                  </a:cxn>
                  <a:cxn ang="0">
                    <a:pos x="358" y="0"/>
                  </a:cxn>
                  <a:cxn ang="0">
                    <a:pos x="375" y="29"/>
                  </a:cxn>
                  <a:cxn ang="0">
                    <a:pos x="358" y="64"/>
                  </a:cxn>
                  <a:cxn ang="0">
                    <a:pos x="60" y="282"/>
                  </a:cxn>
                  <a:cxn ang="0">
                    <a:pos x="38" y="257"/>
                  </a:cxn>
                  <a:cxn ang="0">
                    <a:pos x="0" y="260"/>
                  </a:cxn>
                </a:cxnLst>
                <a:rect l="0" t="0" r="r" b="b"/>
                <a:pathLst>
                  <a:path w="375" h="282">
                    <a:moveTo>
                      <a:pt x="0" y="260"/>
                    </a:moveTo>
                    <a:cubicBezTo>
                      <a:pt x="53" y="111"/>
                      <a:pt x="193" y="4"/>
                      <a:pt x="358" y="0"/>
                    </a:cubicBezTo>
                    <a:cubicBezTo>
                      <a:pt x="375" y="29"/>
                      <a:pt x="375" y="29"/>
                      <a:pt x="375" y="29"/>
                    </a:cubicBezTo>
                    <a:cubicBezTo>
                      <a:pt x="358" y="64"/>
                      <a:pt x="358" y="64"/>
                      <a:pt x="358" y="64"/>
                    </a:cubicBezTo>
                    <a:cubicBezTo>
                      <a:pt x="220" y="68"/>
                      <a:pt x="104" y="158"/>
                      <a:pt x="60" y="282"/>
                    </a:cubicBezTo>
                    <a:cubicBezTo>
                      <a:pt x="38" y="257"/>
                      <a:pt x="38" y="257"/>
                      <a:pt x="38" y="257"/>
                    </a:cubicBezTo>
                    <a:lnTo>
                      <a:pt x="0" y="260"/>
                    </a:lnTo>
                    <a:close/>
                  </a:path>
                </a:pathLst>
              </a:custGeom>
              <a:solidFill>
                <a:schemeClr val="tx2"/>
              </a:solidFill>
              <a:ln w="0">
                <a:noFill/>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noProof="1">
                  <a:solidFill>
                    <a:prstClr val="black"/>
                  </a:solidFill>
                </a:endParaRPr>
              </a:p>
            </p:txBody>
          </p:sp>
          <p:sp>
            <p:nvSpPr>
              <p:cNvPr id="26" name="Freeform 25"/>
              <p:cNvSpPr>
                <a:spLocks/>
              </p:cNvSpPr>
              <p:nvPr/>
            </p:nvSpPr>
            <p:spPr bwMode="auto">
              <a:xfrm>
                <a:off x="4705422" y="1301750"/>
                <a:ext cx="2132013" cy="1668463"/>
              </a:xfrm>
              <a:custGeom>
                <a:avLst/>
                <a:gdLst/>
                <a:ahLst/>
                <a:cxnLst>
                  <a:cxn ang="0">
                    <a:pos x="364" y="258"/>
                  </a:cxn>
                  <a:cxn ang="0">
                    <a:pos x="0" y="0"/>
                  </a:cxn>
                  <a:cxn ang="0">
                    <a:pos x="17" y="28"/>
                  </a:cxn>
                  <a:cxn ang="0">
                    <a:pos x="0" y="64"/>
                  </a:cxn>
                  <a:cxn ang="0">
                    <a:pos x="303" y="279"/>
                  </a:cxn>
                  <a:cxn ang="0">
                    <a:pos x="340" y="285"/>
                  </a:cxn>
                  <a:cxn ang="0">
                    <a:pos x="364" y="258"/>
                  </a:cxn>
                </a:cxnLst>
                <a:rect l="0" t="0" r="r" b="b"/>
                <a:pathLst>
                  <a:path w="364" h="285">
                    <a:moveTo>
                      <a:pt x="364" y="258"/>
                    </a:moveTo>
                    <a:cubicBezTo>
                      <a:pt x="310" y="109"/>
                      <a:pt x="167" y="2"/>
                      <a:pt x="0" y="0"/>
                    </a:cubicBezTo>
                    <a:cubicBezTo>
                      <a:pt x="17" y="28"/>
                      <a:pt x="17" y="28"/>
                      <a:pt x="17" y="28"/>
                    </a:cubicBezTo>
                    <a:cubicBezTo>
                      <a:pt x="0" y="64"/>
                      <a:pt x="0" y="64"/>
                      <a:pt x="0" y="64"/>
                    </a:cubicBezTo>
                    <a:cubicBezTo>
                      <a:pt x="139" y="66"/>
                      <a:pt x="258" y="155"/>
                      <a:pt x="303" y="279"/>
                    </a:cubicBezTo>
                    <a:cubicBezTo>
                      <a:pt x="340" y="285"/>
                      <a:pt x="340" y="285"/>
                      <a:pt x="340" y="285"/>
                    </a:cubicBezTo>
                    <a:lnTo>
                      <a:pt x="364" y="258"/>
                    </a:lnTo>
                    <a:close/>
                  </a:path>
                </a:pathLst>
              </a:custGeom>
              <a:solidFill>
                <a:schemeClr val="tx2"/>
              </a:solidFill>
              <a:ln w="0">
                <a:noFill/>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noProof="1">
                  <a:solidFill>
                    <a:prstClr val="black"/>
                  </a:solidFill>
                </a:endParaRPr>
              </a:p>
            </p:txBody>
          </p:sp>
          <p:sp>
            <p:nvSpPr>
              <p:cNvPr id="29" name="Freeform 28"/>
              <p:cNvSpPr>
                <a:spLocks/>
              </p:cNvSpPr>
              <p:nvPr/>
            </p:nvSpPr>
            <p:spPr bwMode="auto">
              <a:xfrm>
                <a:off x="2402418" y="2917825"/>
                <a:ext cx="1106488" cy="2489200"/>
              </a:xfrm>
              <a:custGeom>
                <a:avLst/>
                <a:gdLst/>
                <a:ahLst/>
                <a:cxnLst>
                  <a:cxn ang="0">
                    <a:pos x="16" y="5"/>
                  </a:cxn>
                  <a:cxn ang="0">
                    <a:pos x="0" y="116"/>
                  </a:cxn>
                  <a:cxn ang="0">
                    <a:pos x="150" y="425"/>
                  </a:cxn>
                  <a:cxn ang="0">
                    <a:pos x="154" y="384"/>
                  </a:cxn>
                  <a:cxn ang="0">
                    <a:pos x="189" y="374"/>
                  </a:cxn>
                  <a:cxn ang="0">
                    <a:pos x="64" y="116"/>
                  </a:cxn>
                  <a:cxn ang="0">
                    <a:pos x="76" y="26"/>
                  </a:cxn>
                  <a:cxn ang="0">
                    <a:pos x="54" y="0"/>
                  </a:cxn>
                  <a:cxn ang="0">
                    <a:pos x="16" y="5"/>
                  </a:cxn>
                </a:cxnLst>
                <a:rect l="0" t="0" r="r" b="b"/>
                <a:pathLst>
                  <a:path w="189" h="425">
                    <a:moveTo>
                      <a:pt x="16" y="5"/>
                    </a:moveTo>
                    <a:cubicBezTo>
                      <a:pt x="6" y="40"/>
                      <a:pt x="0" y="77"/>
                      <a:pt x="0" y="116"/>
                    </a:cubicBezTo>
                    <a:cubicBezTo>
                      <a:pt x="0" y="242"/>
                      <a:pt x="59" y="353"/>
                      <a:pt x="150" y="425"/>
                    </a:cubicBezTo>
                    <a:cubicBezTo>
                      <a:pt x="154" y="384"/>
                      <a:pt x="154" y="384"/>
                      <a:pt x="154" y="384"/>
                    </a:cubicBezTo>
                    <a:cubicBezTo>
                      <a:pt x="189" y="374"/>
                      <a:pt x="189" y="374"/>
                      <a:pt x="189" y="374"/>
                    </a:cubicBezTo>
                    <a:cubicBezTo>
                      <a:pt x="113" y="314"/>
                      <a:pt x="64" y="221"/>
                      <a:pt x="64" y="116"/>
                    </a:cubicBezTo>
                    <a:cubicBezTo>
                      <a:pt x="64" y="85"/>
                      <a:pt x="68" y="55"/>
                      <a:pt x="76" y="26"/>
                    </a:cubicBezTo>
                    <a:cubicBezTo>
                      <a:pt x="54" y="0"/>
                      <a:pt x="54" y="0"/>
                      <a:pt x="54" y="0"/>
                    </a:cubicBezTo>
                    <a:lnTo>
                      <a:pt x="16" y="5"/>
                    </a:lnTo>
                    <a:close/>
                  </a:path>
                </a:pathLst>
              </a:custGeom>
              <a:solidFill>
                <a:schemeClr val="tx2"/>
              </a:solidFill>
              <a:ln w="0">
                <a:noFill/>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noProof="1">
                  <a:solidFill>
                    <a:prstClr val="black"/>
                  </a:solidFill>
                </a:endParaRPr>
              </a:p>
            </p:txBody>
          </p:sp>
          <p:sp>
            <p:nvSpPr>
              <p:cNvPr id="30" name="Freeform 29"/>
              <p:cNvSpPr>
                <a:spLocks/>
              </p:cNvSpPr>
              <p:nvPr/>
            </p:nvSpPr>
            <p:spPr bwMode="auto">
              <a:xfrm>
                <a:off x="3386668" y="5184775"/>
                <a:ext cx="2611438" cy="714375"/>
              </a:xfrm>
              <a:custGeom>
                <a:avLst/>
                <a:gdLst/>
                <a:ahLst/>
                <a:cxnLst>
                  <a:cxn ang="0">
                    <a:pos x="225" y="58"/>
                  </a:cxn>
                  <a:cxn ang="0">
                    <a:pos x="38" y="0"/>
                  </a:cxn>
                  <a:cxn ang="0">
                    <a:pos x="4" y="9"/>
                  </a:cxn>
                  <a:cxn ang="0">
                    <a:pos x="0" y="51"/>
                  </a:cxn>
                  <a:cxn ang="0">
                    <a:pos x="225" y="122"/>
                  </a:cxn>
                  <a:cxn ang="0">
                    <a:pos x="446" y="53"/>
                  </a:cxn>
                  <a:cxn ang="0">
                    <a:pos x="415" y="35"/>
                  </a:cxn>
                  <a:cxn ang="0">
                    <a:pos x="410" y="1"/>
                  </a:cxn>
                </a:cxnLst>
                <a:rect l="0" t="0" r="r" b="b"/>
                <a:pathLst>
                  <a:path w="446" h="122">
                    <a:moveTo>
                      <a:pt x="225" y="58"/>
                    </a:moveTo>
                    <a:cubicBezTo>
                      <a:pt x="155" y="58"/>
                      <a:pt x="91" y="36"/>
                      <a:pt x="38" y="0"/>
                    </a:cubicBezTo>
                    <a:cubicBezTo>
                      <a:pt x="4" y="9"/>
                      <a:pt x="4" y="9"/>
                      <a:pt x="4" y="9"/>
                    </a:cubicBezTo>
                    <a:cubicBezTo>
                      <a:pt x="0" y="51"/>
                      <a:pt x="0" y="51"/>
                      <a:pt x="0" y="51"/>
                    </a:cubicBezTo>
                    <a:cubicBezTo>
                      <a:pt x="64" y="96"/>
                      <a:pt x="141" y="122"/>
                      <a:pt x="225" y="122"/>
                    </a:cubicBezTo>
                    <a:cubicBezTo>
                      <a:pt x="307" y="122"/>
                      <a:pt x="383" y="97"/>
                      <a:pt x="446" y="53"/>
                    </a:cubicBezTo>
                    <a:cubicBezTo>
                      <a:pt x="415" y="35"/>
                      <a:pt x="415" y="35"/>
                      <a:pt x="415" y="35"/>
                    </a:cubicBezTo>
                    <a:cubicBezTo>
                      <a:pt x="410" y="1"/>
                      <a:pt x="410" y="1"/>
                      <a:pt x="410" y="1"/>
                    </a:cubicBezTo>
                  </a:path>
                </a:pathLst>
              </a:custGeom>
              <a:solidFill>
                <a:schemeClr val="tx2"/>
              </a:solidFill>
              <a:ln w="0">
                <a:noFill/>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noProof="1">
                  <a:solidFill>
                    <a:prstClr val="black"/>
                  </a:solidFill>
                </a:endParaRPr>
              </a:p>
            </p:txBody>
          </p:sp>
          <p:sp>
            <p:nvSpPr>
              <p:cNvPr id="37" name="Freeform 36"/>
              <p:cNvSpPr>
                <a:spLocks/>
              </p:cNvSpPr>
              <p:nvPr/>
            </p:nvSpPr>
            <p:spPr bwMode="auto">
              <a:xfrm>
                <a:off x="5859534" y="2959100"/>
                <a:ext cx="1112838" cy="2465388"/>
              </a:xfrm>
              <a:custGeom>
                <a:avLst/>
                <a:gdLst/>
                <a:ahLst/>
                <a:cxnLst>
                  <a:cxn ang="0">
                    <a:pos x="36" y="421"/>
                  </a:cxn>
                  <a:cxn ang="0">
                    <a:pos x="190" y="109"/>
                  </a:cxn>
                  <a:cxn ang="0">
                    <a:pos x="175" y="0"/>
                  </a:cxn>
                  <a:cxn ang="0">
                    <a:pos x="151" y="22"/>
                  </a:cxn>
                  <a:cxn ang="0">
                    <a:pos x="113" y="17"/>
                  </a:cxn>
                  <a:cxn ang="0">
                    <a:pos x="126" y="109"/>
                  </a:cxn>
                  <a:cxn ang="0">
                    <a:pos x="0" y="368"/>
                  </a:cxn>
                  <a:cxn ang="0">
                    <a:pos x="5" y="404"/>
                  </a:cxn>
                  <a:cxn ang="0">
                    <a:pos x="36" y="421"/>
                  </a:cxn>
                </a:cxnLst>
                <a:rect l="0" t="0" r="r" b="b"/>
                <a:pathLst>
                  <a:path w="190" h="421">
                    <a:moveTo>
                      <a:pt x="36" y="421"/>
                    </a:moveTo>
                    <a:cubicBezTo>
                      <a:pt x="130" y="349"/>
                      <a:pt x="190" y="236"/>
                      <a:pt x="190" y="109"/>
                    </a:cubicBezTo>
                    <a:cubicBezTo>
                      <a:pt x="190" y="71"/>
                      <a:pt x="185" y="34"/>
                      <a:pt x="175" y="0"/>
                    </a:cubicBezTo>
                    <a:cubicBezTo>
                      <a:pt x="151" y="22"/>
                      <a:pt x="151" y="22"/>
                      <a:pt x="151" y="22"/>
                    </a:cubicBezTo>
                    <a:cubicBezTo>
                      <a:pt x="113" y="17"/>
                      <a:pt x="113" y="17"/>
                      <a:pt x="113" y="17"/>
                    </a:cubicBezTo>
                    <a:cubicBezTo>
                      <a:pt x="122" y="46"/>
                      <a:pt x="126" y="77"/>
                      <a:pt x="126" y="109"/>
                    </a:cubicBezTo>
                    <a:cubicBezTo>
                      <a:pt x="126" y="214"/>
                      <a:pt x="77" y="308"/>
                      <a:pt x="0" y="368"/>
                    </a:cubicBezTo>
                    <a:cubicBezTo>
                      <a:pt x="5" y="404"/>
                      <a:pt x="5" y="404"/>
                      <a:pt x="5" y="404"/>
                    </a:cubicBezTo>
                    <a:lnTo>
                      <a:pt x="36" y="421"/>
                    </a:lnTo>
                    <a:close/>
                  </a:path>
                </a:pathLst>
              </a:custGeom>
              <a:solidFill>
                <a:schemeClr val="tx2"/>
              </a:solidFill>
              <a:ln w="0">
                <a:noFill/>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noProof="1">
                  <a:solidFill>
                    <a:prstClr val="black"/>
                  </a:solidFill>
                </a:endParaRPr>
              </a:p>
            </p:txBody>
          </p:sp>
          <p:sp>
            <p:nvSpPr>
              <p:cNvPr id="38" name="Freeform 37"/>
              <p:cNvSpPr>
                <a:spLocks/>
              </p:cNvSpPr>
              <p:nvPr/>
            </p:nvSpPr>
            <p:spPr bwMode="auto">
              <a:xfrm>
                <a:off x="2537356" y="2806700"/>
                <a:ext cx="257175" cy="46038"/>
              </a:xfrm>
              <a:custGeom>
                <a:avLst/>
                <a:gdLst/>
                <a:ahLst/>
                <a:cxnLst>
                  <a:cxn ang="0">
                    <a:pos x="59" y="29"/>
                  </a:cxn>
                  <a:cxn ang="0">
                    <a:pos x="0" y="11"/>
                  </a:cxn>
                  <a:cxn ang="0">
                    <a:pos x="140" y="0"/>
                  </a:cxn>
                  <a:cxn ang="0">
                    <a:pos x="162" y="22"/>
                  </a:cxn>
                  <a:cxn ang="0">
                    <a:pos x="59" y="29"/>
                  </a:cxn>
                </a:cxnLst>
                <a:rect l="0" t="0" r="r" b="b"/>
                <a:pathLst>
                  <a:path w="162" h="29">
                    <a:moveTo>
                      <a:pt x="59" y="29"/>
                    </a:moveTo>
                    <a:lnTo>
                      <a:pt x="0" y="11"/>
                    </a:lnTo>
                    <a:lnTo>
                      <a:pt x="140" y="0"/>
                    </a:lnTo>
                    <a:lnTo>
                      <a:pt x="162" y="22"/>
                    </a:lnTo>
                    <a:lnTo>
                      <a:pt x="59" y="29"/>
                    </a:lnTo>
                    <a:close/>
                  </a:path>
                </a:pathLst>
              </a:custGeom>
              <a:solidFill>
                <a:schemeClr val="tx2">
                  <a:lumMod val="75000"/>
                </a:schemeClr>
              </a:solidFill>
              <a:ln w="0">
                <a:noFill/>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noProof="1">
                  <a:solidFill>
                    <a:prstClr val="black"/>
                  </a:solidFill>
                </a:endParaRPr>
              </a:p>
            </p:txBody>
          </p:sp>
          <p:sp>
            <p:nvSpPr>
              <p:cNvPr id="39" name="Freeform 38"/>
              <p:cNvSpPr>
                <a:spLocks/>
              </p:cNvSpPr>
              <p:nvPr/>
            </p:nvSpPr>
            <p:spPr bwMode="auto">
              <a:xfrm>
                <a:off x="2888193" y="1471613"/>
                <a:ext cx="1844675" cy="1511300"/>
              </a:xfrm>
              <a:custGeom>
                <a:avLst/>
                <a:gdLst/>
                <a:ahLst/>
                <a:cxnLst>
                  <a:cxn ang="0">
                    <a:pos x="298" y="35"/>
                  </a:cxn>
                  <a:cxn ang="0">
                    <a:pos x="0" y="253"/>
                  </a:cxn>
                  <a:cxn ang="0">
                    <a:pos x="14" y="258"/>
                  </a:cxn>
                  <a:cxn ang="0">
                    <a:pos x="299" y="49"/>
                  </a:cxn>
                  <a:cxn ang="0">
                    <a:pos x="315" y="16"/>
                  </a:cxn>
                  <a:cxn ang="0">
                    <a:pos x="315" y="0"/>
                  </a:cxn>
                  <a:cxn ang="0">
                    <a:pos x="298" y="35"/>
                  </a:cxn>
                </a:cxnLst>
                <a:rect l="0" t="0" r="r" b="b"/>
                <a:pathLst>
                  <a:path w="315" h="258">
                    <a:moveTo>
                      <a:pt x="298" y="35"/>
                    </a:moveTo>
                    <a:cubicBezTo>
                      <a:pt x="160" y="39"/>
                      <a:pt x="44" y="129"/>
                      <a:pt x="0" y="253"/>
                    </a:cubicBezTo>
                    <a:cubicBezTo>
                      <a:pt x="14" y="258"/>
                      <a:pt x="14" y="258"/>
                      <a:pt x="14" y="258"/>
                    </a:cubicBezTo>
                    <a:cubicBezTo>
                      <a:pt x="56" y="139"/>
                      <a:pt x="167" y="54"/>
                      <a:pt x="299" y="49"/>
                    </a:cubicBezTo>
                    <a:cubicBezTo>
                      <a:pt x="315" y="16"/>
                      <a:pt x="315" y="16"/>
                      <a:pt x="315" y="16"/>
                    </a:cubicBezTo>
                    <a:cubicBezTo>
                      <a:pt x="315" y="0"/>
                      <a:pt x="315" y="0"/>
                      <a:pt x="315" y="0"/>
                    </a:cubicBezTo>
                    <a:lnTo>
                      <a:pt x="298" y="35"/>
                    </a:lnTo>
                    <a:close/>
                  </a:path>
                </a:pathLst>
              </a:custGeom>
              <a:solidFill>
                <a:schemeClr val="tx2">
                  <a:lumMod val="75000"/>
                </a:schemeClr>
              </a:solidFill>
              <a:ln w="0">
                <a:noFill/>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noProof="1">
                  <a:solidFill>
                    <a:prstClr val="black"/>
                  </a:solidFill>
                </a:endParaRPr>
              </a:p>
            </p:txBody>
          </p:sp>
          <p:sp>
            <p:nvSpPr>
              <p:cNvPr id="40" name="Freeform 39"/>
              <p:cNvSpPr>
                <a:spLocks/>
              </p:cNvSpPr>
              <p:nvPr/>
            </p:nvSpPr>
            <p:spPr bwMode="auto">
              <a:xfrm>
                <a:off x="4732868" y="1301750"/>
                <a:ext cx="100013" cy="222250"/>
              </a:xfrm>
              <a:custGeom>
                <a:avLst/>
                <a:gdLst/>
                <a:ahLst/>
                <a:cxnLst>
                  <a:cxn ang="0">
                    <a:pos x="0" y="0"/>
                  </a:cxn>
                  <a:cxn ang="0">
                    <a:pos x="0" y="62"/>
                  </a:cxn>
                  <a:cxn ang="0">
                    <a:pos x="45" y="140"/>
                  </a:cxn>
                  <a:cxn ang="0">
                    <a:pos x="63" y="103"/>
                  </a:cxn>
                  <a:cxn ang="0">
                    <a:pos x="0" y="0"/>
                  </a:cxn>
                </a:cxnLst>
                <a:rect l="0" t="0" r="r" b="b"/>
                <a:pathLst>
                  <a:path w="63" h="140">
                    <a:moveTo>
                      <a:pt x="0" y="0"/>
                    </a:moveTo>
                    <a:lnTo>
                      <a:pt x="0" y="62"/>
                    </a:lnTo>
                    <a:lnTo>
                      <a:pt x="45" y="140"/>
                    </a:lnTo>
                    <a:lnTo>
                      <a:pt x="63" y="103"/>
                    </a:lnTo>
                    <a:lnTo>
                      <a:pt x="0" y="0"/>
                    </a:lnTo>
                    <a:close/>
                  </a:path>
                </a:pathLst>
              </a:custGeom>
              <a:solidFill>
                <a:schemeClr val="tx2">
                  <a:lumMod val="75000"/>
                </a:schemeClr>
              </a:solidFill>
              <a:ln w="0">
                <a:noFill/>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noProof="1">
                  <a:solidFill>
                    <a:prstClr val="black"/>
                  </a:solidFill>
                </a:endParaRPr>
              </a:p>
            </p:txBody>
          </p:sp>
          <p:sp>
            <p:nvSpPr>
              <p:cNvPr id="41" name="Freeform 40"/>
              <p:cNvSpPr>
                <a:spLocks/>
              </p:cNvSpPr>
              <p:nvPr/>
            </p:nvSpPr>
            <p:spPr bwMode="auto">
              <a:xfrm>
                <a:off x="4732868" y="1676400"/>
                <a:ext cx="1992313" cy="1323975"/>
              </a:xfrm>
              <a:custGeom>
                <a:avLst/>
                <a:gdLst/>
                <a:ahLst/>
                <a:cxnLst>
                  <a:cxn ang="0">
                    <a:pos x="303" y="215"/>
                  </a:cxn>
                  <a:cxn ang="0">
                    <a:pos x="0" y="0"/>
                  </a:cxn>
                  <a:cxn ang="0">
                    <a:pos x="0" y="14"/>
                  </a:cxn>
                  <a:cxn ang="0">
                    <a:pos x="290" y="220"/>
                  </a:cxn>
                  <a:cxn ang="0">
                    <a:pos x="325" y="226"/>
                  </a:cxn>
                  <a:cxn ang="0">
                    <a:pos x="340" y="221"/>
                  </a:cxn>
                  <a:cxn ang="0">
                    <a:pos x="303" y="215"/>
                  </a:cxn>
                </a:cxnLst>
                <a:rect l="0" t="0" r="r" b="b"/>
                <a:pathLst>
                  <a:path w="340" h="226">
                    <a:moveTo>
                      <a:pt x="303" y="215"/>
                    </a:moveTo>
                    <a:cubicBezTo>
                      <a:pt x="258" y="91"/>
                      <a:pt x="139" y="2"/>
                      <a:pt x="0" y="0"/>
                    </a:cubicBezTo>
                    <a:cubicBezTo>
                      <a:pt x="0" y="14"/>
                      <a:pt x="0" y="14"/>
                      <a:pt x="0" y="14"/>
                    </a:cubicBezTo>
                    <a:cubicBezTo>
                      <a:pt x="133" y="16"/>
                      <a:pt x="246" y="101"/>
                      <a:pt x="290" y="220"/>
                    </a:cubicBezTo>
                    <a:cubicBezTo>
                      <a:pt x="325" y="226"/>
                      <a:pt x="325" y="226"/>
                      <a:pt x="325" y="226"/>
                    </a:cubicBezTo>
                    <a:cubicBezTo>
                      <a:pt x="340" y="221"/>
                      <a:pt x="340" y="221"/>
                      <a:pt x="340" y="221"/>
                    </a:cubicBezTo>
                    <a:lnTo>
                      <a:pt x="303" y="215"/>
                    </a:lnTo>
                    <a:close/>
                  </a:path>
                </a:pathLst>
              </a:custGeom>
              <a:solidFill>
                <a:schemeClr val="tx2">
                  <a:lumMod val="75000"/>
                </a:schemeClr>
              </a:solidFill>
              <a:ln w="0">
                <a:noFill/>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noProof="1">
                  <a:solidFill>
                    <a:prstClr val="black"/>
                  </a:solidFill>
                </a:endParaRPr>
              </a:p>
            </p:txBody>
          </p:sp>
          <p:sp>
            <p:nvSpPr>
              <p:cNvPr id="44" name="Freeform 43"/>
              <p:cNvSpPr>
                <a:spLocks/>
              </p:cNvSpPr>
              <p:nvPr/>
            </p:nvSpPr>
            <p:spPr bwMode="auto">
              <a:xfrm>
                <a:off x="6712481" y="2959100"/>
                <a:ext cx="200025" cy="128588"/>
              </a:xfrm>
              <a:custGeom>
                <a:avLst/>
                <a:gdLst/>
                <a:ahLst/>
                <a:cxnLst>
                  <a:cxn ang="0">
                    <a:pos x="37" y="81"/>
                  </a:cxn>
                  <a:cxn ang="0">
                    <a:pos x="126" y="0"/>
                  </a:cxn>
                  <a:cxn ang="0">
                    <a:pos x="63" y="15"/>
                  </a:cxn>
                  <a:cxn ang="0">
                    <a:pos x="0" y="77"/>
                  </a:cxn>
                  <a:cxn ang="0">
                    <a:pos x="37" y="81"/>
                  </a:cxn>
                </a:cxnLst>
                <a:rect l="0" t="0" r="r" b="b"/>
                <a:pathLst>
                  <a:path w="126" h="81">
                    <a:moveTo>
                      <a:pt x="37" y="81"/>
                    </a:moveTo>
                    <a:lnTo>
                      <a:pt x="126" y="0"/>
                    </a:lnTo>
                    <a:lnTo>
                      <a:pt x="63" y="15"/>
                    </a:lnTo>
                    <a:lnTo>
                      <a:pt x="0" y="77"/>
                    </a:lnTo>
                    <a:lnTo>
                      <a:pt x="37" y="81"/>
                    </a:lnTo>
                    <a:close/>
                  </a:path>
                </a:pathLst>
              </a:custGeom>
              <a:solidFill>
                <a:schemeClr val="tx2">
                  <a:lumMod val="75000"/>
                </a:schemeClr>
              </a:solidFill>
              <a:ln w="0">
                <a:noFill/>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noProof="1">
                  <a:solidFill>
                    <a:prstClr val="black"/>
                  </a:solidFill>
                </a:endParaRPr>
              </a:p>
            </p:txBody>
          </p:sp>
          <p:sp>
            <p:nvSpPr>
              <p:cNvPr id="45" name="Freeform 44"/>
              <p:cNvSpPr>
                <a:spLocks/>
              </p:cNvSpPr>
              <p:nvPr/>
            </p:nvSpPr>
            <p:spPr bwMode="auto">
              <a:xfrm>
                <a:off x="5834593" y="3059113"/>
                <a:ext cx="790575" cy="2266950"/>
              </a:xfrm>
              <a:custGeom>
                <a:avLst/>
                <a:gdLst/>
                <a:ahLst/>
                <a:cxnLst>
                  <a:cxn ang="0">
                    <a:pos x="9" y="351"/>
                  </a:cxn>
                  <a:cxn ang="0">
                    <a:pos x="135" y="92"/>
                  </a:cxn>
                  <a:cxn ang="0">
                    <a:pos x="122" y="0"/>
                  </a:cxn>
                  <a:cxn ang="0">
                    <a:pos x="108" y="4"/>
                  </a:cxn>
                  <a:cxn ang="0">
                    <a:pos x="121" y="92"/>
                  </a:cxn>
                  <a:cxn ang="0">
                    <a:pos x="0" y="340"/>
                  </a:cxn>
                  <a:cxn ang="0">
                    <a:pos x="5" y="374"/>
                  </a:cxn>
                  <a:cxn ang="0">
                    <a:pos x="14" y="387"/>
                  </a:cxn>
                  <a:cxn ang="0">
                    <a:pos x="9" y="351"/>
                  </a:cxn>
                </a:cxnLst>
                <a:rect l="0" t="0" r="r" b="b"/>
                <a:pathLst>
                  <a:path w="135" h="387">
                    <a:moveTo>
                      <a:pt x="9" y="351"/>
                    </a:moveTo>
                    <a:cubicBezTo>
                      <a:pt x="86" y="291"/>
                      <a:pt x="135" y="197"/>
                      <a:pt x="135" y="92"/>
                    </a:cubicBezTo>
                    <a:cubicBezTo>
                      <a:pt x="135" y="60"/>
                      <a:pt x="131" y="29"/>
                      <a:pt x="122" y="0"/>
                    </a:cubicBezTo>
                    <a:cubicBezTo>
                      <a:pt x="108" y="4"/>
                      <a:pt x="108" y="4"/>
                      <a:pt x="108" y="4"/>
                    </a:cubicBezTo>
                    <a:cubicBezTo>
                      <a:pt x="116" y="32"/>
                      <a:pt x="121" y="62"/>
                      <a:pt x="121" y="92"/>
                    </a:cubicBezTo>
                    <a:cubicBezTo>
                      <a:pt x="121" y="193"/>
                      <a:pt x="73" y="282"/>
                      <a:pt x="0" y="340"/>
                    </a:cubicBezTo>
                    <a:cubicBezTo>
                      <a:pt x="5" y="374"/>
                      <a:pt x="5" y="374"/>
                      <a:pt x="5" y="374"/>
                    </a:cubicBezTo>
                    <a:cubicBezTo>
                      <a:pt x="14" y="387"/>
                      <a:pt x="14" y="387"/>
                      <a:pt x="14" y="387"/>
                    </a:cubicBezTo>
                    <a:lnTo>
                      <a:pt x="9" y="351"/>
                    </a:lnTo>
                    <a:close/>
                  </a:path>
                </a:pathLst>
              </a:custGeom>
              <a:solidFill>
                <a:schemeClr val="tx2">
                  <a:lumMod val="75000"/>
                </a:schemeClr>
              </a:solidFill>
              <a:ln w="0">
                <a:noFill/>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noProof="1">
                  <a:solidFill>
                    <a:prstClr val="black"/>
                  </a:solidFill>
                </a:endParaRPr>
              </a:p>
            </p:txBody>
          </p:sp>
          <p:sp>
            <p:nvSpPr>
              <p:cNvPr id="52" name="Freeform 51"/>
              <p:cNvSpPr>
                <a:spLocks/>
              </p:cNvSpPr>
              <p:nvPr/>
            </p:nvSpPr>
            <p:spPr bwMode="auto">
              <a:xfrm>
                <a:off x="5806018" y="5330825"/>
                <a:ext cx="192088" cy="165100"/>
              </a:xfrm>
              <a:custGeom>
                <a:avLst/>
                <a:gdLst/>
                <a:ahLst/>
                <a:cxnLst>
                  <a:cxn ang="0">
                    <a:pos x="121" y="104"/>
                  </a:cxn>
                  <a:cxn ang="0">
                    <a:pos x="88" y="52"/>
                  </a:cxn>
                  <a:cxn ang="0">
                    <a:pos x="0" y="0"/>
                  </a:cxn>
                  <a:cxn ang="0">
                    <a:pos x="7" y="37"/>
                  </a:cxn>
                  <a:cxn ang="0">
                    <a:pos x="121" y="104"/>
                  </a:cxn>
                </a:cxnLst>
                <a:rect l="0" t="0" r="r" b="b"/>
                <a:pathLst>
                  <a:path w="121" h="104">
                    <a:moveTo>
                      <a:pt x="121" y="104"/>
                    </a:moveTo>
                    <a:lnTo>
                      <a:pt x="88" y="52"/>
                    </a:lnTo>
                    <a:lnTo>
                      <a:pt x="0" y="0"/>
                    </a:lnTo>
                    <a:lnTo>
                      <a:pt x="7" y="37"/>
                    </a:lnTo>
                    <a:lnTo>
                      <a:pt x="121" y="104"/>
                    </a:lnTo>
                    <a:close/>
                  </a:path>
                </a:pathLst>
              </a:custGeom>
              <a:solidFill>
                <a:schemeClr val="tx2">
                  <a:lumMod val="75000"/>
                </a:schemeClr>
              </a:solidFill>
              <a:ln w="0">
                <a:noFill/>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noProof="1">
                  <a:solidFill>
                    <a:prstClr val="black"/>
                  </a:solidFill>
                </a:endParaRPr>
              </a:p>
            </p:txBody>
          </p:sp>
          <p:sp>
            <p:nvSpPr>
              <p:cNvPr id="53" name="Freeform 52"/>
              <p:cNvSpPr>
                <a:spLocks/>
              </p:cNvSpPr>
              <p:nvPr/>
            </p:nvSpPr>
            <p:spPr bwMode="auto">
              <a:xfrm>
                <a:off x="3410481" y="5119688"/>
                <a:ext cx="2376488" cy="411163"/>
              </a:xfrm>
              <a:custGeom>
                <a:avLst/>
                <a:gdLst/>
                <a:ahLst/>
                <a:cxnLst>
                  <a:cxn ang="0">
                    <a:pos x="41" y="0"/>
                  </a:cxn>
                  <a:cxn ang="0">
                    <a:pos x="219" y="55"/>
                  </a:cxn>
                  <a:cxn ang="0">
                    <a:pos x="397" y="0"/>
                  </a:cxn>
                  <a:cxn ang="0">
                    <a:pos x="406" y="12"/>
                  </a:cxn>
                  <a:cxn ang="0">
                    <a:pos x="219" y="70"/>
                  </a:cxn>
                  <a:cxn ang="0">
                    <a:pos x="32" y="12"/>
                  </a:cxn>
                  <a:cxn ang="0">
                    <a:pos x="0" y="20"/>
                  </a:cxn>
                  <a:cxn ang="0">
                    <a:pos x="10" y="8"/>
                  </a:cxn>
                  <a:cxn ang="0">
                    <a:pos x="41" y="0"/>
                  </a:cxn>
                </a:cxnLst>
                <a:rect l="0" t="0" r="r" b="b"/>
                <a:pathLst>
                  <a:path w="406" h="70">
                    <a:moveTo>
                      <a:pt x="41" y="0"/>
                    </a:moveTo>
                    <a:cubicBezTo>
                      <a:pt x="91" y="35"/>
                      <a:pt x="153" y="55"/>
                      <a:pt x="219" y="55"/>
                    </a:cubicBezTo>
                    <a:cubicBezTo>
                      <a:pt x="285" y="55"/>
                      <a:pt x="347" y="35"/>
                      <a:pt x="397" y="0"/>
                    </a:cubicBezTo>
                    <a:cubicBezTo>
                      <a:pt x="406" y="12"/>
                      <a:pt x="406" y="12"/>
                      <a:pt x="406" y="12"/>
                    </a:cubicBezTo>
                    <a:cubicBezTo>
                      <a:pt x="353" y="49"/>
                      <a:pt x="288" y="70"/>
                      <a:pt x="219" y="70"/>
                    </a:cubicBezTo>
                    <a:cubicBezTo>
                      <a:pt x="150" y="70"/>
                      <a:pt x="85" y="48"/>
                      <a:pt x="32" y="12"/>
                    </a:cubicBezTo>
                    <a:cubicBezTo>
                      <a:pt x="0" y="20"/>
                      <a:pt x="0" y="20"/>
                      <a:pt x="0" y="20"/>
                    </a:cubicBezTo>
                    <a:cubicBezTo>
                      <a:pt x="10" y="8"/>
                      <a:pt x="10" y="8"/>
                      <a:pt x="10" y="8"/>
                    </a:cubicBezTo>
                    <a:lnTo>
                      <a:pt x="41" y="0"/>
                    </a:lnTo>
                    <a:close/>
                  </a:path>
                </a:pathLst>
              </a:custGeom>
              <a:solidFill>
                <a:schemeClr val="tx2">
                  <a:lumMod val="75000"/>
                </a:schemeClr>
              </a:solidFill>
              <a:ln w="0">
                <a:noFill/>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noProof="1">
                  <a:solidFill>
                    <a:prstClr val="black"/>
                  </a:solidFill>
                </a:endParaRPr>
              </a:p>
            </p:txBody>
          </p:sp>
          <p:sp>
            <p:nvSpPr>
              <p:cNvPr id="54" name="Freeform 53"/>
              <p:cNvSpPr>
                <a:spLocks/>
              </p:cNvSpPr>
              <p:nvPr/>
            </p:nvSpPr>
            <p:spPr bwMode="auto">
              <a:xfrm>
                <a:off x="3280306" y="5149850"/>
                <a:ext cx="82550" cy="257175"/>
              </a:xfrm>
              <a:custGeom>
                <a:avLst/>
                <a:gdLst/>
                <a:ahLst/>
                <a:cxnLst>
                  <a:cxn ang="0">
                    <a:pos x="0" y="162"/>
                  </a:cxn>
                  <a:cxn ang="0">
                    <a:pos x="41" y="111"/>
                  </a:cxn>
                  <a:cxn ang="0">
                    <a:pos x="52" y="0"/>
                  </a:cxn>
                  <a:cxn ang="0">
                    <a:pos x="15" y="11"/>
                  </a:cxn>
                  <a:cxn ang="0">
                    <a:pos x="0" y="162"/>
                  </a:cxn>
                </a:cxnLst>
                <a:rect l="0" t="0" r="r" b="b"/>
                <a:pathLst>
                  <a:path w="52" h="162">
                    <a:moveTo>
                      <a:pt x="0" y="162"/>
                    </a:moveTo>
                    <a:lnTo>
                      <a:pt x="41" y="111"/>
                    </a:lnTo>
                    <a:lnTo>
                      <a:pt x="52" y="0"/>
                    </a:lnTo>
                    <a:lnTo>
                      <a:pt x="15" y="11"/>
                    </a:lnTo>
                    <a:lnTo>
                      <a:pt x="0" y="162"/>
                    </a:lnTo>
                    <a:close/>
                  </a:path>
                </a:pathLst>
              </a:custGeom>
              <a:solidFill>
                <a:schemeClr val="tx2">
                  <a:lumMod val="75000"/>
                </a:schemeClr>
              </a:solidFill>
              <a:ln w="0">
                <a:noFill/>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noProof="1">
                  <a:solidFill>
                    <a:prstClr val="black"/>
                  </a:solidFill>
                </a:endParaRPr>
              </a:p>
            </p:txBody>
          </p:sp>
          <p:sp>
            <p:nvSpPr>
              <p:cNvPr id="55" name="Freeform 54"/>
              <p:cNvSpPr>
                <a:spLocks/>
              </p:cNvSpPr>
              <p:nvPr/>
            </p:nvSpPr>
            <p:spPr bwMode="auto">
              <a:xfrm>
                <a:off x="2718331" y="2917825"/>
                <a:ext cx="842963" cy="2190750"/>
              </a:xfrm>
              <a:custGeom>
                <a:avLst/>
                <a:gdLst/>
                <a:ahLst/>
                <a:cxnLst>
                  <a:cxn ang="0">
                    <a:pos x="36" y="30"/>
                  </a:cxn>
                  <a:cxn ang="0">
                    <a:pos x="25" y="116"/>
                  </a:cxn>
                  <a:cxn ang="0">
                    <a:pos x="144" y="363"/>
                  </a:cxn>
                  <a:cxn ang="0">
                    <a:pos x="135" y="374"/>
                  </a:cxn>
                  <a:cxn ang="0">
                    <a:pos x="10" y="116"/>
                  </a:cxn>
                  <a:cxn ang="0">
                    <a:pos x="22" y="26"/>
                  </a:cxn>
                  <a:cxn ang="0">
                    <a:pos x="0" y="0"/>
                  </a:cxn>
                  <a:cxn ang="0">
                    <a:pos x="15" y="5"/>
                  </a:cxn>
                  <a:cxn ang="0">
                    <a:pos x="36" y="30"/>
                  </a:cxn>
                </a:cxnLst>
                <a:rect l="0" t="0" r="r" b="b"/>
                <a:pathLst>
                  <a:path w="144" h="374">
                    <a:moveTo>
                      <a:pt x="36" y="30"/>
                    </a:moveTo>
                    <a:cubicBezTo>
                      <a:pt x="29" y="57"/>
                      <a:pt x="25" y="86"/>
                      <a:pt x="25" y="116"/>
                    </a:cubicBezTo>
                    <a:cubicBezTo>
                      <a:pt x="25" y="216"/>
                      <a:pt x="71" y="305"/>
                      <a:pt x="144" y="363"/>
                    </a:cubicBezTo>
                    <a:cubicBezTo>
                      <a:pt x="135" y="374"/>
                      <a:pt x="135" y="374"/>
                      <a:pt x="135" y="374"/>
                    </a:cubicBezTo>
                    <a:cubicBezTo>
                      <a:pt x="59" y="314"/>
                      <a:pt x="10" y="221"/>
                      <a:pt x="10" y="116"/>
                    </a:cubicBezTo>
                    <a:cubicBezTo>
                      <a:pt x="10" y="85"/>
                      <a:pt x="14" y="55"/>
                      <a:pt x="22" y="26"/>
                    </a:cubicBezTo>
                    <a:cubicBezTo>
                      <a:pt x="0" y="0"/>
                      <a:pt x="0" y="0"/>
                      <a:pt x="0" y="0"/>
                    </a:cubicBezTo>
                    <a:cubicBezTo>
                      <a:pt x="15" y="5"/>
                      <a:pt x="15" y="5"/>
                      <a:pt x="15" y="5"/>
                    </a:cubicBezTo>
                    <a:lnTo>
                      <a:pt x="36" y="30"/>
                    </a:lnTo>
                    <a:close/>
                  </a:path>
                </a:pathLst>
              </a:custGeom>
              <a:solidFill>
                <a:schemeClr val="tx2">
                  <a:lumMod val="75000"/>
                </a:schemeClr>
              </a:solidFill>
              <a:ln w="0">
                <a:noFill/>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noProof="1">
                  <a:solidFill>
                    <a:prstClr val="black"/>
                  </a:solidFill>
                </a:endParaRPr>
              </a:p>
            </p:txBody>
          </p:sp>
          <p:sp>
            <p:nvSpPr>
              <p:cNvPr id="56" name="Rectangle 55"/>
              <p:cNvSpPr>
                <a:spLocks noChangeArrowheads="1"/>
              </p:cNvSpPr>
              <p:nvPr/>
            </p:nvSpPr>
            <p:spPr bwMode="auto">
              <a:xfrm rot="17320824">
                <a:off x="4796533" y="3386907"/>
                <a:ext cx="2448271" cy="1408115"/>
              </a:xfrm>
              <a:prstGeom prst="rect">
                <a:avLst/>
              </a:prstGeom>
              <a:noFill/>
              <a:ln w="9525">
                <a:noFill/>
                <a:miter lim="800000"/>
                <a:headEnd/>
                <a:tailEnd/>
              </a:ln>
              <a:scene3d>
                <a:camera prst="orthographicFront">
                  <a:rot lat="1761128" lon="3336176" rev="19796431"/>
                </a:camera>
                <a:lightRig rig="threePt" dir="t"/>
              </a:scene3d>
              <a:sp3d/>
            </p:spPr>
            <p:txBody>
              <a:bodyPr spcFirstLastPara="1" vert="horz" wrap="none" lIns="0" tIns="0" rIns="0" bIns="0" numCol="1" anchor="t" anchorCtr="0" compatLnSpc="1">
                <a:prstTxWarp prst="textArchDown">
                  <a:avLst>
                    <a:gd name="adj" fmla="val 37487"/>
                  </a:avLst>
                </a:prstTxWarp>
                <a:spAutoFit/>
                <a:flatTx/>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fr-FR" sz="1100" b="1" noProof="1">
                    <a:solidFill>
                      <a:prstClr val="white"/>
                    </a:solidFill>
                    <a:cs typeface="Arial" pitchFamily="34" charset="0"/>
                  </a:rPr>
                  <a:t>ledger</a:t>
                </a:r>
              </a:p>
            </p:txBody>
          </p:sp>
          <p:sp>
            <p:nvSpPr>
              <p:cNvPr id="57" name="Rectangle 56"/>
              <p:cNvSpPr>
                <a:spLocks noChangeArrowheads="1"/>
              </p:cNvSpPr>
              <p:nvPr/>
            </p:nvSpPr>
            <p:spPr bwMode="auto">
              <a:xfrm rot="4453786">
                <a:off x="2121789" y="3360409"/>
                <a:ext cx="2448271" cy="1384968"/>
              </a:xfrm>
              <a:prstGeom prst="rect">
                <a:avLst/>
              </a:prstGeom>
              <a:noFill/>
              <a:ln w="9525">
                <a:noFill/>
                <a:miter lim="800000"/>
                <a:headEnd/>
                <a:tailEnd/>
              </a:ln>
              <a:scene3d>
                <a:camera prst="orthographicFront">
                  <a:rot lat="1761128" lon="3336176" rev="19796431"/>
                </a:camera>
                <a:lightRig rig="threePt" dir="t"/>
              </a:scene3d>
              <a:sp3d/>
            </p:spPr>
            <p:txBody>
              <a:bodyPr spcFirstLastPara="1" vert="horz" wrap="none" lIns="0" tIns="0" rIns="0" bIns="0" numCol="1" anchor="t" anchorCtr="0" compatLnSpc="1">
                <a:prstTxWarp prst="textArchDown">
                  <a:avLst>
                    <a:gd name="adj" fmla="val 37487"/>
                  </a:avLst>
                </a:prstTxWarp>
                <a:spAutoFit/>
                <a:flatTx/>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fr-FR" sz="1100" b="1" noProof="1">
                    <a:solidFill>
                      <a:prstClr val="white"/>
                    </a:solidFill>
                    <a:cs typeface="Arial" pitchFamily="34" charset="0"/>
                  </a:rPr>
                  <a:t>ledger</a:t>
                </a:r>
              </a:p>
            </p:txBody>
          </p:sp>
          <p:sp>
            <p:nvSpPr>
              <p:cNvPr id="58" name="Rectangle 57"/>
              <p:cNvSpPr>
                <a:spLocks noChangeArrowheads="1"/>
              </p:cNvSpPr>
              <p:nvPr/>
            </p:nvSpPr>
            <p:spPr bwMode="auto">
              <a:xfrm rot="2330883">
                <a:off x="4268788" y="1789744"/>
                <a:ext cx="2448272" cy="1652158"/>
              </a:xfrm>
              <a:prstGeom prst="rect">
                <a:avLst/>
              </a:prstGeom>
              <a:noFill/>
              <a:ln w="9525">
                <a:noFill/>
                <a:miter lim="800000"/>
                <a:headEnd/>
                <a:tailEnd/>
              </a:ln>
              <a:scene3d>
                <a:camera prst="orthographicFront">
                  <a:rot lat="1761128" lon="3336176" rev="19796431"/>
                </a:camera>
                <a:lightRig rig="threePt" dir="t"/>
              </a:scene3d>
              <a:sp3d/>
            </p:spPr>
            <p:txBody>
              <a:bodyPr spcFirstLastPara="1" vert="horz" wrap="none" lIns="0" tIns="0" rIns="0" bIns="0" numCol="1" anchor="t" anchorCtr="0" compatLnSpc="1">
                <a:prstTxWarp prst="textArchUp">
                  <a:avLst/>
                </a:prstTxWarp>
                <a:spAutoFit/>
                <a:flatTx/>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fr-FR" sz="1100" b="1" noProof="1">
                    <a:solidFill>
                      <a:prstClr val="white"/>
                    </a:solidFill>
                    <a:cs typeface="Arial" pitchFamily="34" charset="0"/>
                  </a:rPr>
                  <a:t>ledger</a:t>
                </a:r>
              </a:p>
            </p:txBody>
          </p:sp>
          <p:sp>
            <p:nvSpPr>
              <p:cNvPr id="59" name="Rectangle 58"/>
              <p:cNvSpPr>
                <a:spLocks noChangeArrowheads="1"/>
              </p:cNvSpPr>
              <p:nvPr/>
            </p:nvSpPr>
            <p:spPr bwMode="auto">
              <a:xfrm rot="19276988">
                <a:off x="2625623" y="1776991"/>
                <a:ext cx="2448271" cy="1088851"/>
              </a:xfrm>
              <a:prstGeom prst="rect">
                <a:avLst/>
              </a:prstGeom>
              <a:noFill/>
              <a:ln w="9525">
                <a:noFill/>
                <a:miter lim="800000"/>
                <a:headEnd/>
                <a:tailEnd/>
              </a:ln>
              <a:scene3d>
                <a:camera prst="orthographicFront">
                  <a:rot lat="1761128" lon="3336176" rev="19796431"/>
                </a:camera>
                <a:lightRig rig="threePt" dir="t"/>
              </a:scene3d>
              <a:sp3d/>
            </p:spPr>
            <p:txBody>
              <a:bodyPr spcFirstLastPara="1" vert="horz" wrap="none" lIns="0" tIns="0" rIns="0" bIns="0" numCol="1" anchor="t" anchorCtr="0" compatLnSpc="1">
                <a:prstTxWarp prst="textArchUp">
                  <a:avLst/>
                </a:prstTxWarp>
                <a:spAutoFit/>
                <a:flatTx/>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fr-FR" sz="1100" b="1" noProof="1">
                    <a:solidFill>
                      <a:prstClr val="white"/>
                    </a:solidFill>
                    <a:cs typeface="Arial" pitchFamily="34" charset="0"/>
                  </a:rPr>
                  <a:t>legder</a:t>
                </a:r>
              </a:p>
            </p:txBody>
          </p:sp>
          <p:sp>
            <p:nvSpPr>
              <p:cNvPr id="60" name="Rectangle 59"/>
              <p:cNvSpPr>
                <a:spLocks noChangeArrowheads="1"/>
              </p:cNvSpPr>
              <p:nvPr/>
            </p:nvSpPr>
            <p:spPr bwMode="auto">
              <a:xfrm>
                <a:off x="3481132" y="4271152"/>
                <a:ext cx="2448272" cy="1430994"/>
              </a:xfrm>
              <a:prstGeom prst="rect">
                <a:avLst/>
              </a:prstGeom>
              <a:noFill/>
              <a:ln w="9525">
                <a:noFill/>
                <a:miter lim="800000"/>
                <a:headEnd/>
                <a:tailEnd/>
              </a:ln>
              <a:scene3d>
                <a:camera prst="orthographicFront">
                  <a:rot lat="1761128" lon="3336176" rev="19796431"/>
                </a:camera>
                <a:lightRig rig="threePt" dir="t"/>
              </a:scene3d>
              <a:sp3d/>
            </p:spPr>
            <p:txBody>
              <a:bodyPr spcFirstLastPara="1" vert="horz" wrap="none" lIns="0" tIns="0" rIns="0" bIns="0" numCol="1" anchor="t" anchorCtr="0" compatLnSpc="1">
                <a:prstTxWarp prst="textArchDown">
                  <a:avLst>
                    <a:gd name="adj" fmla="val 37487"/>
                  </a:avLst>
                </a:prstTxWarp>
                <a:spAutoFit/>
                <a:flatTx/>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fr-FR" sz="1100" b="1" noProof="1">
                    <a:solidFill>
                      <a:prstClr val="white"/>
                    </a:solidFill>
                    <a:cs typeface="Arial" pitchFamily="34" charset="0"/>
                  </a:rPr>
                  <a:t>ledger</a:t>
                </a:r>
              </a:p>
            </p:txBody>
          </p:sp>
        </p:grpSp>
        <p:sp>
          <p:nvSpPr>
            <p:cNvPr id="7" name="Rectangle 6"/>
            <p:cNvSpPr/>
            <p:nvPr/>
          </p:nvSpPr>
          <p:spPr>
            <a:xfrm>
              <a:off x="5699079" y="3437960"/>
              <a:ext cx="2377574" cy="400110"/>
            </a:xfrm>
            <a:prstGeom prst="rect">
              <a:avLst/>
            </a:prstGeom>
          </p:spPr>
          <p:txBody>
            <a:bodyPr wrap="none">
              <a:spAutoFit/>
            </a:bodyPr>
            <a:lstStyle/>
            <a:p>
              <a:pPr algn="ctr"/>
              <a:r>
                <a:rPr lang="en-GB" sz="2000" b="1" kern="10" noProof="1">
                  <a:solidFill>
                    <a:schemeClr val="tx2"/>
                  </a:solidFill>
                </a:rPr>
                <a:t>Distributed ledger</a:t>
              </a:r>
            </a:p>
          </p:txBody>
        </p:sp>
      </p:grpSp>
      <p:grpSp>
        <p:nvGrpSpPr>
          <p:cNvPr id="33" name="Group 122"/>
          <p:cNvGrpSpPr/>
          <p:nvPr/>
        </p:nvGrpSpPr>
        <p:grpSpPr>
          <a:xfrm>
            <a:off x="1901556" y="4734710"/>
            <a:ext cx="916305" cy="990933"/>
            <a:chOff x="1647955" y="1194792"/>
            <a:chExt cx="916305" cy="990933"/>
          </a:xfrm>
        </p:grpSpPr>
        <p:sp>
          <p:nvSpPr>
            <p:cNvPr id="34" name="Freeform 7"/>
            <p:cNvSpPr>
              <a:spLocks/>
            </p:cNvSpPr>
            <p:nvPr/>
          </p:nvSpPr>
          <p:spPr bwMode="auto">
            <a:xfrm>
              <a:off x="1647955" y="1194792"/>
              <a:ext cx="916305" cy="370708"/>
            </a:xfrm>
            <a:prstGeom prst="rect">
              <a:avLst/>
            </a:prstGeom>
            <a:solidFill>
              <a:schemeClr val="bg1"/>
            </a:solidFill>
            <a:ln w="9525" algn="ctr">
              <a:noFill/>
              <a:miter lim="800000"/>
              <a:headEnd type="none" w="lg" len="lg"/>
              <a:tailEnd type="none" w="lg" len="lg"/>
            </a:ln>
          </p:spPr>
          <p:txBody>
            <a:bodyPr lIns="0" tIns="0" rIns="0" bIns="0" anchor="ctr"/>
            <a:lstStyle/>
            <a:p>
              <a:pPr algn="ctr" defTabSz="1040767">
                <a:lnSpc>
                  <a:spcPct val="90000"/>
                </a:lnSpc>
              </a:pPr>
              <a:r>
                <a:rPr lang="en-US" sz="900" b="1" noProof="1">
                  <a:solidFill>
                    <a:schemeClr val="tx2"/>
                  </a:solidFill>
                  <a:ea typeface="ヒラギノ角ゴ Pro W3"/>
                  <a:cs typeface="ヒラギノ角ゴ Pro W3"/>
                </a:rPr>
                <a:t>Investors</a:t>
              </a:r>
            </a:p>
          </p:txBody>
        </p:sp>
        <p:grpSp>
          <p:nvGrpSpPr>
            <p:cNvPr id="35" name="Group 100"/>
            <p:cNvGrpSpPr/>
            <p:nvPr/>
          </p:nvGrpSpPr>
          <p:grpSpPr>
            <a:xfrm>
              <a:off x="1818075" y="1609661"/>
              <a:ext cx="576064" cy="576064"/>
              <a:chOff x="1818075" y="1609661"/>
              <a:chExt cx="576064" cy="576064"/>
            </a:xfrm>
          </p:grpSpPr>
          <p:sp>
            <p:nvSpPr>
              <p:cNvPr id="36" name="Rectangle 35"/>
              <p:cNvSpPr/>
              <p:nvPr/>
            </p:nvSpPr>
            <p:spPr>
              <a:xfrm>
                <a:off x="1818075" y="1609661"/>
                <a:ext cx="576064" cy="57606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42" name="Group 48"/>
              <p:cNvGrpSpPr/>
              <p:nvPr/>
            </p:nvGrpSpPr>
            <p:grpSpPr>
              <a:xfrm>
                <a:off x="1900735" y="1769269"/>
                <a:ext cx="410745" cy="256848"/>
                <a:chOff x="9471025" y="3811588"/>
                <a:chExt cx="1241426" cy="776288"/>
              </a:xfrm>
              <a:solidFill>
                <a:schemeClr val="bg1"/>
              </a:solidFill>
            </p:grpSpPr>
            <p:sp>
              <p:nvSpPr>
                <p:cNvPr id="43" name="Oval 8"/>
                <p:cNvSpPr>
                  <a:spLocks noChangeArrowheads="1"/>
                </p:cNvSpPr>
                <p:nvPr/>
              </p:nvSpPr>
              <p:spPr bwMode="auto">
                <a:xfrm>
                  <a:off x="9598025" y="3941763"/>
                  <a:ext cx="265113" cy="333375"/>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46" name="Freeform 9"/>
                <p:cNvSpPr>
                  <a:spLocks/>
                </p:cNvSpPr>
                <p:nvPr/>
              </p:nvSpPr>
              <p:spPr bwMode="auto">
                <a:xfrm>
                  <a:off x="9701213" y="4310063"/>
                  <a:ext cx="58738" cy="198438"/>
                </a:xfrm>
                <a:custGeom>
                  <a:avLst/>
                  <a:gdLst>
                    <a:gd name="T0" fmla="*/ 37 w 37"/>
                    <a:gd name="T1" fmla="*/ 22 h 125"/>
                    <a:gd name="T2" fmla="*/ 18 w 37"/>
                    <a:gd name="T3" fmla="*/ 0 h 125"/>
                    <a:gd name="T4" fmla="*/ 0 w 37"/>
                    <a:gd name="T5" fmla="*/ 22 h 125"/>
                    <a:gd name="T6" fmla="*/ 13 w 37"/>
                    <a:gd name="T7" fmla="*/ 22 h 125"/>
                    <a:gd name="T8" fmla="*/ 0 w 37"/>
                    <a:gd name="T9" fmla="*/ 77 h 125"/>
                    <a:gd name="T10" fmla="*/ 18 w 37"/>
                    <a:gd name="T11" fmla="*/ 125 h 125"/>
                    <a:gd name="T12" fmla="*/ 37 w 37"/>
                    <a:gd name="T13" fmla="*/ 77 h 125"/>
                    <a:gd name="T14" fmla="*/ 23 w 37"/>
                    <a:gd name="T15" fmla="*/ 22 h 125"/>
                    <a:gd name="T16" fmla="*/ 37 w 37"/>
                    <a:gd name="T17" fmla="*/ 2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125">
                      <a:moveTo>
                        <a:pt x="37" y="22"/>
                      </a:moveTo>
                      <a:lnTo>
                        <a:pt x="18" y="0"/>
                      </a:lnTo>
                      <a:lnTo>
                        <a:pt x="0" y="22"/>
                      </a:lnTo>
                      <a:lnTo>
                        <a:pt x="13" y="22"/>
                      </a:lnTo>
                      <a:lnTo>
                        <a:pt x="0" y="77"/>
                      </a:lnTo>
                      <a:lnTo>
                        <a:pt x="18" y="125"/>
                      </a:lnTo>
                      <a:lnTo>
                        <a:pt x="37" y="77"/>
                      </a:lnTo>
                      <a:lnTo>
                        <a:pt x="23" y="22"/>
                      </a:lnTo>
                      <a:lnTo>
                        <a:pt x="37" y="22"/>
                      </a:lnTo>
                      <a:close/>
                    </a:path>
                  </a:pathLst>
                </a:cu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47" name="Oval 10"/>
                <p:cNvSpPr>
                  <a:spLocks noChangeArrowheads="1"/>
                </p:cNvSpPr>
                <p:nvPr/>
              </p:nvSpPr>
              <p:spPr bwMode="auto">
                <a:xfrm>
                  <a:off x="10336213" y="3941763"/>
                  <a:ext cx="265113" cy="333375"/>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48" name="Freeform 11"/>
                <p:cNvSpPr>
                  <a:spLocks/>
                </p:cNvSpPr>
                <p:nvPr/>
              </p:nvSpPr>
              <p:spPr bwMode="auto">
                <a:xfrm>
                  <a:off x="10439400" y="4310063"/>
                  <a:ext cx="58738" cy="198438"/>
                </a:xfrm>
                <a:custGeom>
                  <a:avLst/>
                  <a:gdLst>
                    <a:gd name="T0" fmla="*/ 37 w 37"/>
                    <a:gd name="T1" fmla="*/ 22 h 125"/>
                    <a:gd name="T2" fmla="*/ 19 w 37"/>
                    <a:gd name="T3" fmla="*/ 0 h 125"/>
                    <a:gd name="T4" fmla="*/ 0 w 37"/>
                    <a:gd name="T5" fmla="*/ 22 h 125"/>
                    <a:gd name="T6" fmla="*/ 14 w 37"/>
                    <a:gd name="T7" fmla="*/ 22 h 125"/>
                    <a:gd name="T8" fmla="*/ 0 w 37"/>
                    <a:gd name="T9" fmla="*/ 77 h 125"/>
                    <a:gd name="T10" fmla="*/ 19 w 37"/>
                    <a:gd name="T11" fmla="*/ 125 h 125"/>
                    <a:gd name="T12" fmla="*/ 37 w 37"/>
                    <a:gd name="T13" fmla="*/ 77 h 125"/>
                    <a:gd name="T14" fmla="*/ 24 w 37"/>
                    <a:gd name="T15" fmla="*/ 22 h 125"/>
                    <a:gd name="T16" fmla="*/ 37 w 37"/>
                    <a:gd name="T17" fmla="*/ 2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125">
                      <a:moveTo>
                        <a:pt x="37" y="22"/>
                      </a:moveTo>
                      <a:lnTo>
                        <a:pt x="19" y="0"/>
                      </a:lnTo>
                      <a:lnTo>
                        <a:pt x="0" y="22"/>
                      </a:lnTo>
                      <a:lnTo>
                        <a:pt x="14" y="22"/>
                      </a:lnTo>
                      <a:lnTo>
                        <a:pt x="0" y="77"/>
                      </a:lnTo>
                      <a:lnTo>
                        <a:pt x="19" y="125"/>
                      </a:lnTo>
                      <a:lnTo>
                        <a:pt x="37" y="77"/>
                      </a:lnTo>
                      <a:lnTo>
                        <a:pt x="24" y="22"/>
                      </a:lnTo>
                      <a:lnTo>
                        <a:pt x="37" y="22"/>
                      </a:lnTo>
                      <a:close/>
                    </a:path>
                  </a:pathLst>
                </a:cu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49" name="Oval 51"/>
                <p:cNvSpPr>
                  <a:spLocks noChangeArrowheads="1"/>
                </p:cNvSpPr>
                <p:nvPr/>
              </p:nvSpPr>
              <p:spPr bwMode="auto">
                <a:xfrm>
                  <a:off x="9939338" y="3811588"/>
                  <a:ext cx="317500" cy="400050"/>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50" name="Freeform 52"/>
                <p:cNvSpPr>
                  <a:spLocks/>
                </p:cNvSpPr>
                <p:nvPr/>
              </p:nvSpPr>
              <p:spPr bwMode="auto">
                <a:xfrm>
                  <a:off x="10063163" y="4254501"/>
                  <a:ext cx="71438" cy="238125"/>
                </a:xfrm>
                <a:custGeom>
                  <a:avLst/>
                  <a:gdLst>
                    <a:gd name="T0" fmla="*/ 45 w 45"/>
                    <a:gd name="T1" fmla="*/ 27 h 150"/>
                    <a:gd name="T2" fmla="*/ 22 w 45"/>
                    <a:gd name="T3" fmla="*/ 0 h 150"/>
                    <a:gd name="T4" fmla="*/ 0 w 45"/>
                    <a:gd name="T5" fmla="*/ 27 h 150"/>
                    <a:gd name="T6" fmla="*/ 17 w 45"/>
                    <a:gd name="T7" fmla="*/ 27 h 150"/>
                    <a:gd name="T8" fmla="*/ 0 w 45"/>
                    <a:gd name="T9" fmla="*/ 93 h 150"/>
                    <a:gd name="T10" fmla="*/ 22 w 45"/>
                    <a:gd name="T11" fmla="*/ 150 h 150"/>
                    <a:gd name="T12" fmla="*/ 45 w 45"/>
                    <a:gd name="T13" fmla="*/ 93 h 150"/>
                    <a:gd name="T14" fmla="*/ 29 w 45"/>
                    <a:gd name="T15" fmla="*/ 27 h 150"/>
                    <a:gd name="T16" fmla="*/ 45 w 45"/>
                    <a:gd name="T17" fmla="*/ 27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150">
                      <a:moveTo>
                        <a:pt x="45" y="27"/>
                      </a:moveTo>
                      <a:lnTo>
                        <a:pt x="22" y="0"/>
                      </a:lnTo>
                      <a:lnTo>
                        <a:pt x="0" y="27"/>
                      </a:lnTo>
                      <a:lnTo>
                        <a:pt x="17" y="27"/>
                      </a:lnTo>
                      <a:lnTo>
                        <a:pt x="0" y="93"/>
                      </a:lnTo>
                      <a:lnTo>
                        <a:pt x="22" y="150"/>
                      </a:lnTo>
                      <a:lnTo>
                        <a:pt x="45" y="93"/>
                      </a:lnTo>
                      <a:lnTo>
                        <a:pt x="29" y="27"/>
                      </a:lnTo>
                      <a:lnTo>
                        <a:pt x="45" y="27"/>
                      </a:lnTo>
                      <a:close/>
                    </a:path>
                  </a:pathLst>
                </a:cu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51" name="Freeform 53"/>
                <p:cNvSpPr>
                  <a:spLocks/>
                </p:cNvSpPr>
                <p:nvPr/>
              </p:nvSpPr>
              <p:spPr bwMode="auto">
                <a:xfrm>
                  <a:off x="10421938" y="4294188"/>
                  <a:ext cx="290513" cy="293688"/>
                </a:xfrm>
                <a:custGeom>
                  <a:avLst/>
                  <a:gdLst>
                    <a:gd name="T0" fmla="*/ 80 w 110"/>
                    <a:gd name="T1" fmla="*/ 0 h 111"/>
                    <a:gd name="T2" fmla="*/ 63 w 110"/>
                    <a:gd name="T3" fmla="*/ 0 h 111"/>
                    <a:gd name="T4" fmla="*/ 18 w 110"/>
                    <a:gd name="T5" fmla="*/ 109 h 111"/>
                    <a:gd name="T6" fmla="*/ 0 w 110"/>
                    <a:gd name="T7" fmla="*/ 66 h 111"/>
                    <a:gd name="T8" fmla="*/ 0 w 110"/>
                    <a:gd name="T9" fmla="*/ 111 h 111"/>
                    <a:gd name="T10" fmla="*/ 110 w 110"/>
                    <a:gd name="T11" fmla="*/ 111 h 111"/>
                    <a:gd name="T12" fmla="*/ 110 w 110"/>
                    <a:gd name="T13" fmla="*/ 30 h 111"/>
                    <a:gd name="T14" fmla="*/ 80 w 110"/>
                    <a:gd name="T15" fmla="*/ 0 h 1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111">
                      <a:moveTo>
                        <a:pt x="80" y="0"/>
                      </a:moveTo>
                      <a:cubicBezTo>
                        <a:pt x="63" y="0"/>
                        <a:pt x="63" y="0"/>
                        <a:pt x="63" y="0"/>
                      </a:cubicBezTo>
                      <a:cubicBezTo>
                        <a:pt x="18" y="109"/>
                        <a:pt x="18" y="109"/>
                        <a:pt x="18" y="109"/>
                      </a:cubicBezTo>
                      <a:cubicBezTo>
                        <a:pt x="0" y="66"/>
                        <a:pt x="0" y="66"/>
                        <a:pt x="0" y="66"/>
                      </a:cubicBezTo>
                      <a:cubicBezTo>
                        <a:pt x="0" y="111"/>
                        <a:pt x="0" y="111"/>
                        <a:pt x="0" y="111"/>
                      </a:cubicBezTo>
                      <a:cubicBezTo>
                        <a:pt x="110" y="111"/>
                        <a:pt x="110" y="111"/>
                        <a:pt x="110" y="111"/>
                      </a:cubicBezTo>
                      <a:cubicBezTo>
                        <a:pt x="110" y="30"/>
                        <a:pt x="110" y="30"/>
                        <a:pt x="110" y="30"/>
                      </a:cubicBezTo>
                      <a:cubicBezTo>
                        <a:pt x="110" y="13"/>
                        <a:pt x="97" y="0"/>
                        <a:pt x="8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61" name="Freeform 54"/>
                <p:cNvSpPr>
                  <a:spLocks/>
                </p:cNvSpPr>
                <p:nvPr/>
              </p:nvSpPr>
              <p:spPr bwMode="auto">
                <a:xfrm>
                  <a:off x="9471025" y="4294188"/>
                  <a:ext cx="288925" cy="293688"/>
                </a:xfrm>
                <a:custGeom>
                  <a:avLst/>
                  <a:gdLst>
                    <a:gd name="T0" fmla="*/ 109 w 109"/>
                    <a:gd name="T1" fmla="*/ 83 h 111"/>
                    <a:gd name="T2" fmla="*/ 98 w 109"/>
                    <a:gd name="T3" fmla="*/ 109 h 111"/>
                    <a:gd name="T4" fmla="*/ 53 w 109"/>
                    <a:gd name="T5" fmla="*/ 0 h 111"/>
                    <a:gd name="T6" fmla="*/ 30 w 109"/>
                    <a:gd name="T7" fmla="*/ 0 h 111"/>
                    <a:gd name="T8" fmla="*/ 0 w 109"/>
                    <a:gd name="T9" fmla="*/ 30 h 111"/>
                    <a:gd name="T10" fmla="*/ 0 w 109"/>
                    <a:gd name="T11" fmla="*/ 111 h 111"/>
                    <a:gd name="T12" fmla="*/ 109 w 109"/>
                    <a:gd name="T13" fmla="*/ 111 h 111"/>
                    <a:gd name="T14" fmla="*/ 109 w 109"/>
                    <a:gd name="T15" fmla="*/ 83 h 1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 h="111">
                      <a:moveTo>
                        <a:pt x="109" y="83"/>
                      </a:moveTo>
                      <a:cubicBezTo>
                        <a:pt x="98" y="109"/>
                        <a:pt x="98" y="109"/>
                        <a:pt x="98" y="109"/>
                      </a:cubicBezTo>
                      <a:cubicBezTo>
                        <a:pt x="53" y="0"/>
                        <a:pt x="53" y="0"/>
                        <a:pt x="53" y="0"/>
                      </a:cubicBezTo>
                      <a:cubicBezTo>
                        <a:pt x="30" y="0"/>
                        <a:pt x="30" y="0"/>
                        <a:pt x="30" y="0"/>
                      </a:cubicBezTo>
                      <a:cubicBezTo>
                        <a:pt x="14" y="0"/>
                        <a:pt x="0" y="13"/>
                        <a:pt x="0" y="30"/>
                      </a:cubicBezTo>
                      <a:cubicBezTo>
                        <a:pt x="0" y="111"/>
                        <a:pt x="0" y="111"/>
                        <a:pt x="0" y="111"/>
                      </a:cubicBezTo>
                      <a:cubicBezTo>
                        <a:pt x="109" y="111"/>
                        <a:pt x="109" y="111"/>
                        <a:pt x="109" y="111"/>
                      </a:cubicBezTo>
                      <a:lnTo>
                        <a:pt x="109" y="83"/>
                      </a:lnTo>
                      <a:close/>
                    </a:path>
                  </a:pathLst>
                </a:cu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62" name="Freeform 55"/>
                <p:cNvSpPr>
                  <a:spLocks noEditPoints="1"/>
                </p:cNvSpPr>
                <p:nvPr/>
              </p:nvSpPr>
              <p:spPr bwMode="auto">
                <a:xfrm>
                  <a:off x="9788525" y="4233863"/>
                  <a:ext cx="603250" cy="354013"/>
                </a:xfrm>
                <a:custGeom>
                  <a:avLst/>
                  <a:gdLst>
                    <a:gd name="T0" fmla="*/ 192 w 228"/>
                    <a:gd name="T1" fmla="*/ 0 h 134"/>
                    <a:gd name="T2" fmla="*/ 162 w 228"/>
                    <a:gd name="T3" fmla="*/ 0 h 134"/>
                    <a:gd name="T4" fmla="*/ 142 w 228"/>
                    <a:gd name="T5" fmla="*/ 20 h 134"/>
                    <a:gd name="T6" fmla="*/ 152 w 228"/>
                    <a:gd name="T7" fmla="*/ 35 h 134"/>
                    <a:gd name="T8" fmla="*/ 142 w 228"/>
                    <a:gd name="T9" fmla="*/ 46 h 134"/>
                    <a:gd name="T10" fmla="*/ 154 w 228"/>
                    <a:gd name="T11" fmla="*/ 57 h 134"/>
                    <a:gd name="T12" fmla="*/ 117 w 228"/>
                    <a:gd name="T13" fmla="*/ 131 h 134"/>
                    <a:gd name="T14" fmla="*/ 79 w 228"/>
                    <a:gd name="T15" fmla="*/ 54 h 134"/>
                    <a:gd name="T16" fmla="*/ 89 w 228"/>
                    <a:gd name="T17" fmla="*/ 43 h 134"/>
                    <a:gd name="T18" fmla="*/ 78 w 228"/>
                    <a:gd name="T19" fmla="*/ 32 h 134"/>
                    <a:gd name="T20" fmla="*/ 89 w 228"/>
                    <a:gd name="T21" fmla="*/ 19 h 134"/>
                    <a:gd name="T22" fmla="*/ 70 w 228"/>
                    <a:gd name="T23" fmla="*/ 0 h 134"/>
                    <a:gd name="T24" fmla="*/ 36 w 228"/>
                    <a:gd name="T25" fmla="*/ 0 h 134"/>
                    <a:gd name="T26" fmla="*/ 0 w 228"/>
                    <a:gd name="T27" fmla="*/ 36 h 134"/>
                    <a:gd name="T28" fmla="*/ 0 w 228"/>
                    <a:gd name="T29" fmla="*/ 134 h 134"/>
                    <a:gd name="T30" fmla="*/ 228 w 228"/>
                    <a:gd name="T31" fmla="*/ 134 h 134"/>
                    <a:gd name="T32" fmla="*/ 228 w 228"/>
                    <a:gd name="T33" fmla="*/ 36 h 134"/>
                    <a:gd name="T34" fmla="*/ 192 w 228"/>
                    <a:gd name="T35" fmla="*/ 0 h 134"/>
                    <a:gd name="T36" fmla="*/ 214 w 228"/>
                    <a:gd name="T37" fmla="*/ 56 h 134"/>
                    <a:gd name="T38" fmla="*/ 170 w 228"/>
                    <a:gd name="T39" fmla="*/ 56 h 134"/>
                    <a:gd name="T40" fmla="*/ 170 w 228"/>
                    <a:gd name="T41" fmla="*/ 43 h 134"/>
                    <a:gd name="T42" fmla="*/ 214 w 228"/>
                    <a:gd name="T43" fmla="*/ 43 h 134"/>
                    <a:gd name="T44" fmla="*/ 214 w 228"/>
                    <a:gd name="T45" fmla="*/ 5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8" h="134">
                      <a:moveTo>
                        <a:pt x="192" y="0"/>
                      </a:moveTo>
                      <a:cubicBezTo>
                        <a:pt x="162" y="0"/>
                        <a:pt x="162" y="0"/>
                        <a:pt x="162" y="0"/>
                      </a:cubicBezTo>
                      <a:cubicBezTo>
                        <a:pt x="142" y="20"/>
                        <a:pt x="142" y="20"/>
                        <a:pt x="142" y="20"/>
                      </a:cubicBezTo>
                      <a:cubicBezTo>
                        <a:pt x="152" y="35"/>
                        <a:pt x="152" y="35"/>
                        <a:pt x="152" y="35"/>
                      </a:cubicBezTo>
                      <a:cubicBezTo>
                        <a:pt x="142" y="46"/>
                        <a:pt x="142" y="46"/>
                        <a:pt x="142" y="46"/>
                      </a:cubicBezTo>
                      <a:cubicBezTo>
                        <a:pt x="154" y="57"/>
                        <a:pt x="154" y="57"/>
                        <a:pt x="154" y="57"/>
                      </a:cubicBezTo>
                      <a:cubicBezTo>
                        <a:pt x="117" y="131"/>
                        <a:pt x="117" y="131"/>
                        <a:pt x="117" y="131"/>
                      </a:cubicBezTo>
                      <a:cubicBezTo>
                        <a:pt x="79" y="54"/>
                        <a:pt x="79" y="54"/>
                        <a:pt x="79" y="54"/>
                      </a:cubicBezTo>
                      <a:cubicBezTo>
                        <a:pt x="89" y="43"/>
                        <a:pt x="89" y="43"/>
                        <a:pt x="89" y="43"/>
                      </a:cubicBezTo>
                      <a:cubicBezTo>
                        <a:pt x="78" y="32"/>
                        <a:pt x="78" y="32"/>
                        <a:pt x="78" y="32"/>
                      </a:cubicBezTo>
                      <a:cubicBezTo>
                        <a:pt x="89" y="19"/>
                        <a:pt x="89" y="19"/>
                        <a:pt x="89" y="19"/>
                      </a:cubicBezTo>
                      <a:cubicBezTo>
                        <a:pt x="70" y="0"/>
                        <a:pt x="70" y="0"/>
                        <a:pt x="70" y="0"/>
                      </a:cubicBezTo>
                      <a:cubicBezTo>
                        <a:pt x="36" y="0"/>
                        <a:pt x="36" y="0"/>
                        <a:pt x="36" y="0"/>
                      </a:cubicBezTo>
                      <a:cubicBezTo>
                        <a:pt x="16" y="0"/>
                        <a:pt x="0" y="16"/>
                        <a:pt x="0" y="36"/>
                      </a:cubicBezTo>
                      <a:cubicBezTo>
                        <a:pt x="0" y="134"/>
                        <a:pt x="0" y="134"/>
                        <a:pt x="0" y="134"/>
                      </a:cubicBezTo>
                      <a:cubicBezTo>
                        <a:pt x="228" y="134"/>
                        <a:pt x="228" y="134"/>
                        <a:pt x="228" y="134"/>
                      </a:cubicBezTo>
                      <a:cubicBezTo>
                        <a:pt x="228" y="36"/>
                        <a:pt x="228" y="36"/>
                        <a:pt x="228" y="36"/>
                      </a:cubicBezTo>
                      <a:cubicBezTo>
                        <a:pt x="228" y="16"/>
                        <a:pt x="212" y="0"/>
                        <a:pt x="192" y="0"/>
                      </a:cubicBezTo>
                      <a:close/>
                      <a:moveTo>
                        <a:pt x="214" y="56"/>
                      </a:moveTo>
                      <a:cubicBezTo>
                        <a:pt x="170" y="56"/>
                        <a:pt x="170" y="56"/>
                        <a:pt x="170" y="56"/>
                      </a:cubicBezTo>
                      <a:cubicBezTo>
                        <a:pt x="170" y="43"/>
                        <a:pt x="170" y="43"/>
                        <a:pt x="170" y="43"/>
                      </a:cubicBezTo>
                      <a:cubicBezTo>
                        <a:pt x="214" y="43"/>
                        <a:pt x="214" y="43"/>
                        <a:pt x="214" y="43"/>
                      </a:cubicBezTo>
                      <a:lnTo>
                        <a:pt x="214" y="56"/>
                      </a:lnTo>
                      <a:close/>
                    </a:path>
                  </a:pathLst>
                </a:custGeom>
                <a:grpFill/>
                <a:ln>
                  <a:noFill/>
                </a:ln>
              </p:spPr>
              <p:txBody>
                <a:bodyPr vert="horz" wrap="square" lIns="91440" tIns="45720" rIns="91440" bIns="45720" numCol="1" anchor="t" anchorCtr="0" compatLnSpc="1">
                  <a:prstTxWarp prst="textNoShape">
                    <a:avLst/>
                  </a:prstTxWarp>
                </a:bodyPr>
                <a:lstStyle/>
                <a:p>
                  <a:endParaRPr lang="en-US" sz="900" noProof="1"/>
                </a:p>
              </p:txBody>
            </p:sp>
          </p:grpSp>
        </p:grpSp>
      </p:grpSp>
      <p:grpSp>
        <p:nvGrpSpPr>
          <p:cNvPr id="63" name="Group 122"/>
          <p:cNvGrpSpPr/>
          <p:nvPr/>
        </p:nvGrpSpPr>
        <p:grpSpPr>
          <a:xfrm>
            <a:off x="6156694" y="5184737"/>
            <a:ext cx="916305" cy="990933"/>
            <a:chOff x="1647955" y="1194792"/>
            <a:chExt cx="916305" cy="990933"/>
          </a:xfrm>
        </p:grpSpPr>
        <p:sp>
          <p:nvSpPr>
            <p:cNvPr id="64" name="Freeform 7"/>
            <p:cNvSpPr>
              <a:spLocks/>
            </p:cNvSpPr>
            <p:nvPr/>
          </p:nvSpPr>
          <p:spPr bwMode="auto">
            <a:xfrm>
              <a:off x="1647955" y="1194792"/>
              <a:ext cx="916305" cy="370708"/>
            </a:xfrm>
            <a:prstGeom prst="rect">
              <a:avLst/>
            </a:prstGeom>
            <a:solidFill>
              <a:schemeClr val="bg1"/>
            </a:solidFill>
            <a:ln w="9525" algn="ctr">
              <a:noFill/>
              <a:miter lim="800000"/>
              <a:headEnd type="none" w="lg" len="lg"/>
              <a:tailEnd type="none" w="lg" len="lg"/>
            </a:ln>
          </p:spPr>
          <p:txBody>
            <a:bodyPr lIns="0" tIns="0" rIns="0" bIns="0" anchor="ctr"/>
            <a:lstStyle/>
            <a:p>
              <a:pPr algn="ctr" defTabSz="1040767">
                <a:lnSpc>
                  <a:spcPct val="90000"/>
                </a:lnSpc>
              </a:pPr>
              <a:r>
                <a:rPr lang="en-US" sz="900" b="1" noProof="1">
                  <a:solidFill>
                    <a:schemeClr val="tx2"/>
                  </a:solidFill>
                  <a:ea typeface="ヒラギノ角ゴ Pro W3"/>
                  <a:cs typeface="ヒラギノ角ゴ Pro W3"/>
                </a:rPr>
                <a:t>Investors</a:t>
              </a:r>
            </a:p>
          </p:txBody>
        </p:sp>
        <p:grpSp>
          <p:nvGrpSpPr>
            <p:cNvPr id="65" name="Group 100"/>
            <p:cNvGrpSpPr/>
            <p:nvPr/>
          </p:nvGrpSpPr>
          <p:grpSpPr>
            <a:xfrm>
              <a:off x="1818075" y="1609661"/>
              <a:ext cx="576064" cy="576064"/>
              <a:chOff x="1818075" y="1609661"/>
              <a:chExt cx="576064" cy="576064"/>
            </a:xfrm>
          </p:grpSpPr>
          <p:sp>
            <p:nvSpPr>
              <p:cNvPr id="66" name="Rectangle 65"/>
              <p:cNvSpPr/>
              <p:nvPr/>
            </p:nvSpPr>
            <p:spPr>
              <a:xfrm>
                <a:off x="1818075" y="1609661"/>
                <a:ext cx="576064" cy="57606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67" name="Group 48"/>
              <p:cNvGrpSpPr/>
              <p:nvPr/>
            </p:nvGrpSpPr>
            <p:grpSpPr>
              <a:xfrm>
                <a:off x="1900735" y="1769269"/>
                <a:ext cx="410745" cy="256848"/>
                <a:chOff x="9471025" y="3811588"/>
                <a:chExt cx="1241426" cy="776288"/>
              </a:xfrm>
              <a:solidFill>
                <a:schemeClr val="bg1"/>
              </a:solidFill>
            </p:grpSpPr>
            <p:sp>
              <p:nvSpPr>
                <p:cNvPr id="68" name="Oval 8"/>
                <p:cNvSpPr>
                  <a:spLocks noChangeArrowheads="1"/>
                </p:cNvSpPr>
                <p:nvPr/>
              </p:nvSpPr>
              <p:spPr bwMode="auto">
                <a:xfrm>
                  <a:off x="9598025" y="3941763"/>
                  <a:ext cx="265113" cy="333375"/>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69" name="Freeform 9"/>
                <p:cNvSpPr>
                  <a:spLocks/>
                </p:cNvSpPr>
                <p:nvPr/>
              </p:nvSpPr>
              <p:spPr bwMode="auto">
                <a:xfrm>
                  <a:off x="9701213" y="4310063"/>
                  <a:ext cx="58738" cy="198438"/>
                </a:xfrm>
                <a:custGeom>
                  <a:avLst/>
                  <a:gdLst>
                    <a:gd name="T0" fmla="*/ 37 w 37"/>
                    <a:gd name="T1" fmla="*/ 22 h 125"/>
                    <a:gd name="T2" fmla="*/ 18 w 37"/>
                    <a:gd name="T3" fmla="*/ 0 h 125"/>
                    <a:gd name="T4" fmla="*/ 0 w 37"/>
                    <a:gd name="T5" fmla="*/ 22 h 125"/>
                    <a:gd name="T6" fmla="*/ 13 w 37"/>
                    <a:gd name="T7" fmla="*/ 22 h 125"/>
                    <a:gd name="T8" fmla="*/ 0 w 37"/>
                    <a:gd name="T9" fmla="*/ 77 h 125"/>
                    <a:gd name="T10" fmla="*/ 18 w 37"/>
                    <a:gd name="T11" fmla="*/ 125 h 125"/>
                    <a:gd name="T12" fmla="*/ 37 w 37"/>
                    <a:gd name="T13" fmla="*/ 77 h 125"/>
                    <a:gd name="T14" fmla="*/ 23 w 37"/>
                    <a:gd name="T15" fmla="*/ 22 h 125"/>
                    <a:gd name="T16" fmla="*/ 37 w 37"/>
                    <a:gd name="T17" fmla="*/ 2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125">
                      <a:moveTo>
                        <a:pt x="37" y="22"/>
                      </a:moveTo>
                      <a:lnTo>
                        <a:pt x="18" y="0"/>
                      </a:lnTo>
                      <a:lnTo>
                        <a:pt x="0" y="22"/>
                      </a:lnTo>
                      <a:lnTo>
                        <a:pt x="13" y="22"/>
                      </a:lnTo>
                      <a:lnTo>
                        <a:pt x="0" y="77"/>
                      </a:lnTo>
                      <a:lnTo>
                        <a:pt x="18" y="125"/>
                      </a:lnTo>
                      <a:lnTo>
                        <a:pt x="37" y="77"/>
                      </a:lnTo>
                      <a:lnTo>
                        <a:pt x="23" y="22"/>
                      </a:lnTo>
                      <a:lnTo>
                        <a:pt x="37" y="22"/>
                      </a:lnTo>
                      <a:close/>
                    </a:path>
                  </a:pathLst>
                </a:cu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70" name="Oval 10"/>
                <p:cNvSpPr>
                  <a:spLocks noChangeArrowheads="1"/>
                </p:cNvSpPr>
                <p:nvPr/>
              </p:nvSpPr>
              <p:spPr bwMode="auto">
                <a:xfrm>
                  <a:off x="10336213" y="3941763"/>
                  <a:ext cx="265113" cy="333375"/>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71" name="Freeform 11"/>
                <p:cNvSpPr>
                  <a:spLocks/>
                </p:cNvSpPr>
                <p:nvPr/>
              </p:nvSpPr>
              <p:spPr bwMode="auto">
                <a:xfrm>
                  <a:off x="10439400" y="4310063"/>
                  <a:ext cx="58738" cy="198438"/>
                </a:xfrm>
                <a:custGeom>
                  <a:avLst/>
                  <a:gdLst>
                    <a:gd name="T0" fmla="*/ 37 w 37"/>
                    <a:gd name="T1" fmla="*/ 22 h 125"/>
                    <a:gd name="T2" fmla="*/ 19 w 37"/>
                    <a:gd name="T3" fmla="*/ 0 h 125"/>
                    <a:gd name="T4" fmla="*/ 0 w 37"/>
                    <a:gd name="T5" fmla="*/ 22 h 125"/>
                    <a:gd name="T6" fmla="*/ 14 w 37"/>
                    <a:gd name="T7" fmla="*/ 22 h 125"/>
                    <a:gd name="T8" fmla="*/ 0 w 37"/>
                    <a:gd name="T9" fmla="*/ 77 h 125"/>
                    <a:gd name="T10" fmla="*/ 19 w 37"/>
                    <a:gd name="T11" fmla="*/ 125 h 125"/>
                    <a:gd name="T12" fmla="*/ 37 w 37"/>
                    <a:gd name="T13" fmla="*/ 77 h 125"/>
                    <a:gd name="T14" fmla="*/ 24 w 37"/>
                    <a:gd name="T15" fmla="*/ 22 h 125"/>
                    <a:gd name="T16" fmla="*/ 37 w 37"/>
                    <a:gd name="T17" fmla="*/ 2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125">
                      <a:moveTo>
                        <a:pt x="37" y="22"/>
                      </a:moveTo>
                      <a:lnTo>
                        <a:pt x="19" y="0"/>
                      </a:lnTo>
                      <a:lnTo>
                        <a:pt x="0" y="22"/>
                      </a:lnTo>
                      <a:lnTo>
                        <a:pt x="14" y="22"/>
                      </a:lnTo>
                      <a:lnTo>
                        <a:pt x="0" y="77"/>
                      </a:lnTo>
                      <a:lnTo>
                        <a:pt x="19" y="125"/>
                      </a:lnTo>
                      <a:lnTo>
                        <a:pt x="37" y="77"/>
                      </a:lnTo>
                      <a:lnTo>
                        <a:pt x="24" y="22"/>
                      </a:lnTo>
                      <a:lnTo>
                        <a:pt x="37" y="22"/>
                      </a:lnTo>
                      <a:close/>
                    </a:path>
                  </a:pathLst>
                </a:cu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72" name="Oval 51"/>
                <p:cNvSpPr>
                  <a:spLocks noChangeArrowheads="1"/>
                </p:cNvSpPr>
                <p:nvPr/>
              </p:nvSpPr>
              <p:spPr bwMode="auto">
                <a:xfrm>
                  <a:off x="9939338" y="3811588"/>
                  <a:ext cx="317500" cy="400050"/>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73" name="Freeform 52"/>
                <p:cNvSpPr>
                  <a:spLocks/>
                </p:cNvSpPr>
                <p:nvPr/>
              </p:nvSpPr>
              <p:spPr bwMode="auto">
                <a:xfrm>
                  <a:off x="10063163" y="4254501"/>
                  <a:ext cx="71438" cy="238125"/>
                </a:xfrm>
                <a:custGeom>
                  <a:avLst/>
                  <a:gdLst>
                    <a:gd name="T0" fmla="*/ 45 w 45"/>
                    <a:gd name="T1" fmla="*/ 27 h 150"/>
                    <a:gd name="T2" fmla="*/ 22 w 45"/>
                    <a:gd name="T3" fmla="*/ 0 h 150"/>
                    <a:gd name="T4" fmla="*/ 0 w 45"/>
                    <a:gd name="T5" fmla="*/ 27 h 150"/>
                    <a:gd name="T6" fmla="*/ 17 w 45"/>
                    <a:gd name="T7" fmla="*/ 27 h 150"/>
                    <a:gd name="T8" fmla="*/ 0 w 45"/>
                    <a:gd name="T9" fmla="*/ 93 h 150"/>
                    <a:gd name="T10" fmla="*/ 22 w 45"/>
                    <a:gd name="T11" fmla="*/ 150 h 150"/>
                    <a:gd name="T12" fmla="*/ 45 w 45"/>
                    <a:gd name="T13" fmla="*/ 93 h 150"/>
                    <a:gd name="T14" fmla="*/ 29 w 45"/>
                    <a:gd name="T15" fmla="*/ 27 h 150"/>
                    <a:gd name="T16" fmla="*/ 45 w 45"/>
                    <a:gd name="T17" fmla="*/ 27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150">
                      <a:moveTo>
                        <a:pt x="45" y="27"/>
                      </a:moveTo>
                      <a:lnTo>
                        <a:pt x="22" y="0"/>
                      </a:lnTo>
                      <a:lnTo>
                        <a:pt x="0" y="27"/>
                      </a:lnTo>
                      <a:lnTo>
                        <a:pt x="17" y="27"/>
                      </a:lnTo>
                      <a:lnTo>
                        <a:pt x="0" y="93"/>
                      </a:lnTo>
                      <a:lnTo>
                        <a:pt x="22" y="150"/>
                      </a:lnTo>
                      <a:lnTo>
                        <a:pt x="45" y="93"/>
                      </a:lnTo>
                      <a:lnTo>
                        <a:pt x="29" y="27"/>
                      </a:lnTo>
                      <a:lnTo>
                        <a:pt x="45" y="27"/>
                      </a:lnTo>
                      <a:close/>
                    </a:path>
                  </a:pathLst>
                </a:cu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74" name="Freeform 53"/>
                <p:cNvSpPr>
                  <a:spLocks/>
                </p:cNvSpPr>
                <p:nvPr/>
              </p:nvSpPr>
              <p:spPr bwMode="auto">
                <a:xfrm>
                  <a:off x="10421938" y="4294188"/>
                  <a:ext cx="290513" cy="293688"/>
                </a:xfrm>
                <a:custGeom>
                  <a:avLst/>
                  <a:gdLst>
                    <a:gd name="T0" fmla="*/ 80 w 110"/>
                    <a:gd name="T1" fmla="*/ 0 h 111"/>
                    <a:gd name="T2" fmla="*/ 63 w 110"/>
                    <a:gd name="T3" fmla="*/ 0 h 111"/>
                    <a:gd name="T4" fmla="*/ 18 w 110"/>
                    <a:gd name="T5" fmla="*/ 109 h 111"/>
                    <a:gd name="T6" fmla="*/ 0 w 110"/>
                    <a:gd name="T7" fmla="*/ 66 h 111"/>
                    <a:gd name="T8" fmla="*/ 0 w 110"/>
                    <a:gd name="T9" fmla="*/ 111 h 111"/>
                    <a:gd name="T10" fmla="*/ 110 w 110"/>
                    <a:gd name="T11" fmla="*/ 111 h 111"/>
                    <a:gd name="T12" fmla="*/ 110 w 110"/>
                    <a:gd name="T13" fmla="*/ 30 h 111"/>
                    <a:gd name="T14" fmla="*/ 80 w 110"/>
                    <a:gd name="T15" fmla="*/ 0 h 1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111">
                      <a:moveTo>
                        <a:pt x="80" y="0"/>
                      </a:moveTo>
                      <a:cubicBezTo>
                        <a:pt x="63" y="0"/>
                        <a:pt x="63" y="0"/>
                        <a:pt x="63" y="0"/>
                      </a:cubicBezTo>
                      <a:cubicBezTo>
                        <a:pt x="18" y="109"/>
                        <a:pt x="18" y="109"/>
                        <a:pt x="18" y="109"/>
                      </a:cubicBezTo>
                      <a:cubicBezTo>
                        <a:pt x="0" y="66"/>
                        <a:pt x="0" y="66"/>
                        <a:pt x="0" y="66"/>
                      </a:cubicBezTo>
                      <a:cubicBezTo>
                        <a:pt x="0" y="111"/>
                        <a:pt x="0" y="111"/>
                        <a:pt x="0" y="111"/>
                      </a:cubicBezTo>
                      <a:cubicBezTo>
                        <a:pt x="110" y="111"/>
                        <a:pt x="110" y="111"/>
                        <a:pt x="110" y="111"/>
                      </a:cubicBezTo>
                      <a:cubicBezTo>
                        <a:pt x="110" y="30"/>
                        <a:pt x="110" y="30"/>
                        <a:pt x="110" y="30"/>
                      </a:cubicBezTo>
                      <a:cubicBezTo>
                        <a:pt x="110" y="13"/>
                        <a:pt x="97" y="0"/>
                        <a:pt x="8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75" name="Freeform 54"/>
                <p:cNvSpPr>
                  <a:spLocks/>
                </p:cNvSpPr>
                <p:nvPr/>
              </p:nvSpPr>
              <p:spPr bwMode="auto">
                <a:xfrm>
                  <a:off x="9471025" y="4294188"/>
                  <a:ext cx="288925" cy="293688"/>
                </a:xfrm>
                <a:custGeom>
                  <a:avLst/>
                  <a:gdLst>
                    <a:gd name="T0" fmla="*/ 109 w 109"/>
                    <a:gd name="T1" fmla="*/ 83 h 111"/>
                    <a:gd name="T2" fmla="*/ 98 w 109"/>
                    <a:gd name="T3" fmla="*/ 109 h 111"/>
                    <a:gd name="T4" fmla="*/ 53 w 109"/>
                    <a:gd name="T5" fmla="*/ 0 h 111"/>
                    <a:gd name="T6" fmla="*/ 30 w 109"/>
                    <a:gd name="T7" fmla="*/ 0 h 111"/>
                    <a:gd name="T8" fmla="*/ 0 w 109"/>
                    <a:gd name="T9" fmla="*/ 30 h 111"/>
                    <a:gd name="T10" fmla="*/ 0 w 109"/>
                    <a:gd name="T11" fmla="*/ 111 h 111"/>
                    <a:gd name="T12" fmla="*/ 109 w 109"/>
                    <a:gd name="T13" fmla="*/ 111 h 111"/>
                    <a:gd name="T14" fmla="*/ 109 w 109"/>
                    <a:gd name="T15" fmla="*/ 83 h 1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 h="111">
                      <a:moveTo>
                        <a:pt x="109" y="83"/>
                      </a:moveTo>
                      <a:cubicBezTo>
                        <a:pt x="98" y="109"/>
                        <a:pt x="98" y="109"/>
                        <a:pt x="98" y="109"/>
                      </a:cubicBezTo>
                      <a:cubicBezTo>
                        <a:pt x="53" y="0"/>
                        <a:pt x="53" y="0"/>
                        <a:pt x="53" y="0"/>
                      </a:cubicBezTo>
                      <a:cubicBezTo>
                        <a:pt x="30" y="0"/>
                        <a:pt x="30" y="0"/>
                        <a:pt x="30" y="0"/>
                      </a:cubicBezTo>
                      <a:cubicBezTo>
                        <a:pt x="14" y="0"/>
                        <a:pt x="0" y="13"/>
                        <a:pt x="0" y="30"/>
                      </a:cubicBezTo>
                      <a:cubicBezTo>
                        <a:pt x="0" y="111"/>
                        <a:pt x="0" y="111"/>
                        <a:pt x="0" y="111"/>
                      </a:cubicBezTo>
                      <a:cubicBezTo>
                        <a:pt x="109" y="111"/>
                        <a:pt x="109" y="111"/>
                        <a:pt x="109" y="111"/>
                      </a:cubicBezTo>
                      <a:lnTo>
                        <a:pt x="109" y="83"/>
                      </a:lnTo>
                      <a:close/>
                    </a:path>
                  </a:pathLst>
                </a:cu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76" name="Freeform 55"/>
                <p:cNvSpPr>
                  <a:spLocks noEditPoints="1"/>
                </p:cNvSpPr>
                <p:nvPr/>
              </p:nvSpPr>
              <p:spPr bwMode="auto">
                <a:xfrm>
                  <a:off x="9788525" y="4233863"/>
                  <a:ext cx="603250" cy="354013"/>
                </a:xfrm>
                <a:custGeom>
                  <a:avLst/>
                  <a:gdLst>
                    <a:gd name="T0" fmla="*/ 192 w 228"/>
                    <a:gd name="T1" fmla="*/ 0 h 134"/>
                    <a:gd name="T2" fmla="*/ 162 w 228"/>
                    <a:gd name="T3" fmla="*/ 0 h 134"/>
                    <a:gd name="T4" fmla="*/ 142 w 228"/>
                    <a:gd name="T5" fmla="*/ 20 h 134"/>
                    <a:gd name="T6" fmla="*/ 152 w 228"/>
                    <a:gd name="T7" fmla="*/ 35 h 134"/>
                    <a:gd name="T8" fmla="*/ 142 w 228"/>
                    <a:gd name="T9" fmla="*/ 46 h 134"/>
                    <a:gd name="T10" fmla="*/ 154 w 228"/>
                    <a:gd name="T11" fmla="*/ 57 h 134"/>
                    <a:gd name="T12" fmla="*/ 117 w 228"/>
                    <a:gd name="T13" fmla="*/ 131 h 134"/>
                    <a:gd name="T14" fmla="*/ 79 w 228"/>
                    <a:gd name="T15" fmla="*/ 54 h 134"/>
                    <a:gd name="T16" fmla="*/ 89 w 228"/>
                    <a:gd name="T17" fmla="*/ 43 h 134"/>
                    <a:gd name="T18" fmla="*/ 78 w 228"/>
                    <a:gd name="T19" fmla="*/ 32 h 134"/>
                    <a:gd name="T20" fmla="*/ 89 w 228"/>
                    <a:gd name="T21" fmla="*/ 19 h 134"/>
                    <a:gd name="T22" fmla="*/ 70 w 228"/>
                    <a:gd name="T23" fmla="*/ 0 h 134"/>
                    <a:gd name="T24" fmla="*/ 36 w 228"/>
                    <a:gd name="T25" fmla="*/ 0 h 134"/>
                    <a:gd name="T26" fmla="*/ 0 w 228"/>
                    <a:gd name="T27" fmla="*/ 36 h 134"/>
                    <a:gd name="T28" fmla="*/ 0 w 228"/>
                    <a:gd name="T29" fmla="*/ 134 h 134"/>
                    <a:gd name="T30" fmla="*/ 228 w 228"/>
                    <a:gd name="T31" fmla="*/ 134 h 134"/>
                    <a:gd name="T32" fmla="*/ 228 w 228"/>
                    <a:gd name="T33" fmla="*/ 36 h 134"/>
                    <a:gd name="T34" fmla="*/ 192 w 228"/>
                    <a:gd name="T35" fmla="*/ 0 h 134"/>
                    <a:gd name="T36" fmla="*/ 214 w 228"/>
                    <a:gd name="T37" fmla="*/ 56 h 134"/>
                    <a:gd name="T38" fmla="*/ 170 w 228"/>
                    <a:gd name="T39" fmla="*/ 56 h 134"/>
                    <a:gd name="T40" fmla="*/ 170 w 228"/>
                    <a:gd name="T41" fmla="*/ 43 h 134"/>
                    <a:gd name="T42" fmla="*/ 214 w 228"/>
                    <a:gd name="T43" fmla="*/ 43 h 134"/>
                    <a:gd name="T44" fmla="*/ 214 w 228"/>
                    <a:gd name="T45" fmla="*/ 5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8" h="134">
                      <a:moveTo>
                        <a:pt x="192" y="0"/>
                      </a:moveTo>
                      <a:cubicBezTo>
                        <a:pt x="162" y="0"/>
                        <a:pt x="162" y="0"/>
                        <a:pt x="162" y="0"/>
                      </a:cubicBezTo>
                      <a:cubicBezTo>
                        <a:pt x="142" y="20"/>
                        <a:pt x="142" y="20"/>
                        <a:pt x="142" y="20"/>
                      </a:cubicBezTo>
                      <a:cubicBezTo>
                        <a:pt x="152" y="35"/>
                        <a:pt x="152" y="35"/>
                        <a:pt x="152" y="35"/>
                      </a:cubicBezTo>
                      <a:cubicBezTo>
                        <a:pt x="142" y="46"/>
                        <a:pt x="142" y="46"/>
                        <a:pt x="142" y="46"/>
                      </a:cubicBezTo>
                      <a:cubicBezTo>
                        <a:pt x="154" y="57"/>
                        <a:pt x="154" y="57"/>
                        <a:pt x="154" y="57"/>
                      </a:cubicBezTo>
                      <a:cubicBezTo>
                        <a:pt x="117" y="131"/>
                        <a:pt x="117" y="131"/>
                        <a:pt x="117" y="131"/>
                      </a:cubicBezTo>
                      <a:cubicBezTo>
                        <a:pt x="79" y="54"/>
                        <a:pt x="79" y="54"/>
                        <a:pt x="79" y="54"/>
                      </a:cubicBezTo>
                      <a:cubicBezTo>
                        <a:pt x="89" y="43"/>
                        <a:pt x="89" y="43"/>
                        <a:pt x="89" y="43"/>
                      </a:cubicBezTo>
                      <a:cubicBezTo>
                        <a:pt x="78" y="32"/>
                        <a:pt x="78" y="32"/>
                        <a:pt x="78" y="32"/>
                      </a:cubicBezTo>
                      <a:cubicBezTo>
                        <a:pt x="89" y="19"/>
                        <a:pt x="89" y="19"/>
                        <a:pt x="89" y="19"/>
                      </a:cubicBezTo>
                      <a:cubicBezTo>
                        <a:pt x="70" y="0"/>
                        <a:pt x="70" y="0"/>
                        <a:pt x="70" y="0"/>
                      </a:cubicBezTo>
                      <a:cubicBezTo>
                        <a:pt x="36" y="0"/>
                        <a:pt x="36" y="0"/>
                        <a:pt x="36" y="0"/>
                      </a:cubicBezTo>
                      <a:cubicBezTo>
                        <a:pt x="16" y="0"/>
                        <a:pt x="0" y="16"/>
                        <a:pt x="0" y="36"/>
                      </a:cubicBezTo>
                      <a:cubicBezTo>
                        <a:pt x="0" y="134"/>
                        <a:pt x="0" y="134"/>
                        <a:pt x="0" y="134"/>
                      </a:cubicBezTo>
                      <a:cubicBezTo>
                        <a:pt x="228" y="134"/>
                        <a:pt x="228" y="134"/>
                        <a:pt x="228" y="134"/>
                      </a:cubicBezTo>
                      <a:cubicBezTo>
                        <a:pt x="228" y="36"/>
                        <a:pt x="228" y="36"/>
                        <a:pt x="228" y="36"/>
                      </a:cubicBezTo>
                      <a:cubicBezTo>
                        <a:pt x="228" y="16"/>
                        <a:pt x="212" y="0"/>
                        <a:pt x="192" y="0"/>
                      </a:cubicBezTo>
                      <a:close/>
                      <a:moveTo>
                        <a:pt x="214" y="56"/>
                      </a:moveTo>
                      <a:cubicBezTo>
                        <a:pt x="170" y="56"/>
                        <a:pt x="170" y="56"/>
                        <a:pt x="170" y="56"/>
                      </a:cubicBezTo>
                      <a:cubicBezTo>
                        <a:pt x="170" y="43"/>
                        <a:pt x="170" y="43"/>
                        <a:pt x="170" y="43"/>
                      </a:cubicBezTo>
                      <a:cubicBezTo>
                        <a:pt x="214" y="43"/>
                        <a:pt x="214" y="43"/>
                        <a:pt x="214" y="43"/>
                      </a:cubicBezTo>
                      <a:lnTo>
                        <a:pt x="214" y="56"/>
                      </a:lnTo>
                      <a:close/>
                    </a:path>
                  </a:pathLst>
                </a:custGeom>
                <a:grpFill/>
                <a:ln>
                  <a:noFill/>
                </a:ln>
              </p:spPr>
              <p:txBody>
                <a:bodyPr vert="horz" wrap="square" lIns="91440" tIns="45720" rIns="91440" bIns="45720" numCol="1" anchor="t" anchorCtr="0" compatLnSpc="1">
                  <a:prstTxWarp prst="textNoShape">
                    <a:avLst/>
                  </a:prstTxWarp>
                </a:bodyPr>
                <a:lstStyle/>
                <a:p>
                  <a:endParaRPr lang="en-US" sz="900" noProof="1"/>
                </a:p>
              </p:txBody>
            </p:sp>
          </p:grpSp>
        </p:grpSp>
      </p:grpSp>
      <p:grpSp>
        <p:nvGrpSpPr>
          <p:cNvPr id="77" name="Group 122"/>
          <p:cNvGrpSpPr/>
          <p:nvPr/>
        </p:nvGrpSpPr>
        <p:grpSpPr>
          <a:xfrm>
            <a:off x="7123213" y="3743777"/>
            <a:ext cx="916305" cy="990933"/>
            <a:chOff x="1647955" y="1194792"/>
            <a:chExt cx="916305" cy="990933"/>
          </a:xfrm>
        </p:grpSpPr>
        <p:sp>
          <p:nvSpPr>
            <p:cNvPr id="78" name="Freeform 7"/>
            <p:cNvSpPr>
              <a:spLocks/>
            </p:cNvSpPr>
            <p:nvPr/>
          </p:nvSpPr>
          <p:spPr bwMode="auto">
            <a:xfrm>
              <a:off x="1647955" y="1194792"/>
              <a:ext cx="916305" cy="370708"/>
            </a:xfrm>
            <a:prstGeom prst="rect">
              <a:avLst/>
            </a:prstGeom>
            <a:solidFill>
              <a:schemeClr val="bg1"/>
            </a:solidFill>
            <a:ln w="9525" algn="ctr">
              <a:noFill/>
              <a:miter lim="800000"/>
              <a:headEnd type="none" w="lg" len="lg"/>
              <a:tailEnd type="none" w="lg" len="lg"/>
            </a:ln>
          </p:spPr>
          <p:txBody>
            <a:bodyPr lIns="0" tIns="0" rIns="0" bIns="0" anchor="ctr"/>
            <a:lstStyle/>
            <a:p>
              <a:pPr algn="ctr" defTabSz="1040767">
                <a:lnSpc>
                  <a:spcPct val="90000"/>
                </a:lnSpc>
              </a:pPr>
              <a:r>
                <a:rPr lang="en-US" sz="900" b="1" noProof="1">
                  <a:solidFill>
                    <a:schemeClr val="tx2"/>
                  </a:solidFill>
                  <a:ea typeface="ヒラギノ角ゴ Pro W3"/>
                  <a:cs typeface="ヒラギノ角ゴ Pro W3"/>
                </a:rPr>
                <a:t>Investors</a:t>
              </a:r>
            </a:p>
          </p:txBody>
        </p:sp>
        <p:grpSp>
          <p:nvGrpSpPr>
            <p:cNvPr id="79" name="Group 100"/>
            <p:cNvGrpSpPr/>
            <p:nvPr/>
          </p:nvGrpSpPr>
          <p:grpSpPr>
            <a:xfrm>
              <a:off x="1818075" y="1609661"/>
              <a:ext cx="576064" cy="576064"/>
              <a:chOff x="1818075" y="1609661"/>
              <a:chExt cx="576064" cy="576064"/>
            </a:xfrm>
          </p:grpSpPr>
          <p:sp>
            <p:nvSpPr>
              <p:cNvPr id="80" name="Rectangle 79"/>
              <p:cNvSpPr/>
              <p:nvPr/>
            </p:nvSpPr>
            <p:spPr>
              <a:xfrm>
                <a:off x="1818075" y="1609661"/>
                <a:ext cx="576064" cy="57606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81" name="Group 48"/>
              <p:cNvGrpSpPr/>
              <p:nvPr/>
            </p:nvGrpSpPr>
            <p:grpSpPr>
              <a:xfrm>
                <a:off x="1900735" y="1769269"/>
                <a:ext cx="410745" cy="256848"/>
                <a:chOff x="9471025" y="3811588"/>
                <a:chExt cx="1241426" cy="776288"/>
              </a:xfrm>
              <a:solidFill>
                <a:schemeClr val="bg1"/>
              </a:solidFill>
            </p:grpSpPr>
            <p:sp>
              <p:nvSpPr>
                <p:cNvPr id="82" name="Oval 8"/>
                <p:cNvSpPr>
                  <a:spLocks noChangeArrowheads="1"/>
                </p:cNvSpPr>
                <p:nvPr/>
              </p:nvSpPr>
              <p:spPr bwMode="auto">
                <a:xfrm>
                  <a:off x="9598025" y="3941763"/>
                  <a:ext cx="265113" cy="333375"/>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83" name="Freeform 9"/>
                <p:cNvSpPr>
                  <a:spLocks/>
                </p:cNvSpPr>
                <p:nvPr/>
              </p:nvSpPr>
              <p:spPr bwMode="auto">
                <a:xfrm>
                  <a:off x="9701213" y="4310063"/>
                  <a:ext cx="58738" cy="198438"/>
                </a:xfrm>
                <a:custGeom>
                  <a:avLst/>
                  <a:gdLst>
                    <a:gd name="T0" fmla="*/ 37 w 37"/>
                    <a:gd name="T1" fmla="*/ 22 h 125"/>
                    <a:gd name="T2" fmla="*/ 18 w 37"/>
                    <a:gd name="T3" fmla="*/ 0 h 125"/>
                    <a:gd name="T4" fmla="*/ 0 w 37"/>
                    <a:gd name="T5" fmla="*/ 22 h 125"/>
                    <a:gd name="T6" fmla="*/ 13 w 37"/>
                    <a:gd name="T7" fmla="*/ 22 h 125"/>
                    <a:gd name="T8" fmla="*/ 0 w 37"/>
                    <a:gd name="T9" fmla="*/ 77 h 125"/>
                    <a:gd name="T10" fmla="*/ 18 w 37"/>
                    <a:gd name="T11" fmla="*/ 125 h 125"/>
                    <a:gd name="T12" fmla="*/ 37 w 37"/>
                    <a:gd name="T13" fmla="*/ 77 h 125"/>
                    <a:gd name="T14" fmla="*/ 23 w 37"/>
                    <a:gd name="T15" fmla="*/ 22 h 125"/>
                    <a:gd name="T16" fmla="*/ 37 w 37"/>
                    <a:gd name="T17" fmla="*/ 2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125">
                      <a:moveTo>
                        <a:pt x="37" y="22"/>
                      </a:moveTo>
                      <a:lnTo>
                        <a:pt x="18" y="0"/>
                      </a:lnTo>
                      <a:lnTo>
                        <a:pt x="0" y="22"/>
                      </a:lnTo>
                      <a:lnTo>
                        <a:pt x="13" y="22"/>
                      </a:lnTo>
                      <a:lnTo>
                        <a:pt x="0" y="77"/>
                      </a:lnTo>
                      <a:lnTo>
                        <a:pt x="18" y="125"/>
                      </a:lnTo>
                      <a:lnTo>
                        <a:pt x="37" y="77"/>
                      </a:lnTo>
                      <a:lnTo>
                        <a:pt x="23" y="22"/>
                      </a:lnTo>
                      <a:lnTo>
                        <a:pt x="37" y="22"/>
                      </a:lnTo>
                      <a:close/>
                    </a:path>
                  </a:pathLst>
                </a:cu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84" name="Oval 10"/>
                <p:cNvSpPr>
                  <a:spLocks noChangeArrowheads="1"/>
                </p:cNvSpPr>
                <p:nvPr/>
              </p:nvSpPr>
              <p:spPr bwMode="auto">
                <a:xfrm>
                  <a:off x="10336213" y="3941763"/>
                  <a:ext cx="265113" cy="333375"/>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85" name="Freeform 11"/>
                <p:cNvSpPr>
                  <a:spLocks/>
                </p:cNvSpPr>
                <p:nvPr/>
              </p:nvSpPr>
              <p:spPr bwMode="auto">
                <a:xfrm>
                  <a:off x="10439400" y="4310063"/>
                  <a:ext cx="58738" cy="198438"/>
                </a:xfrm>
                <a:custGeom>
                  <a:avLst/>
                  <a:gdLst>
                    <a:gd name="T0" fmla="*/ 37 w 37"/>
                    <a:gd name="T1" fmla="*/ 22 h 125"/>
                    <a:gd name="T2" fmla="*/ 19 w 37"/>
                    <a:gd name="T3" fmla="*/ 0 h 125"/>
                    <a:gd name="T4" fmla="*/ 0 w 37"/>
                    <a:gd name="T5" fmla="*/ 22 h 125"/>
                    <a:gd name="T6" fmla="*/ 14 w 37"/>
                    <a:gd name="T7" fmla="*/ 22 h 125"/>
                    <a:gd name="T8" fmla="*/ 0 w 37"/>
                    <a:gd name="T9" fmla="*/ 77 h 125"/>
                    <a:gd name="T10" fmla="*/ 19 w 37"/>
                    <a:gd name="T11" fmla="*/ 125 h 125"/>
                    <a:gd name="T12" fmla="*/ 37 w 37"/>
                    <a:gd name="T13" fmla="*/ 77 h 125"/>
                    <a:gd name="T14" fmla="*/ 24 w 37"/>
                    <a:gd name="T15" fmla="*/ 22 h 125"/>
                    <a:gd name="T16" fmla="*/ 37 w 37"/>
                    <a:gd name="T17" fmla="*/ 2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125">
                      <a:moveTo>
                        <a:pt x="37" y="22"/>
                      </a:moveTo>
                      <a:lnTo>
                        <a:pt x="19" y="0"/>
                      </a:lnTo>
                      <a:lnTo>
                        <a:pt x="0" y="22"/>
                      </a:lnTo>
                      <a:lnTo>
                        <a:pt x="14" y="22"/>
                      </a:lnTo>
                      <a:lnTo>
                        <a:pt x="0" y="77"/>
                      </a:lnTo>
                      <a:lnTo>
                        <a:pt x="19" y="125"/>
                      </a:lnTo>
                      <a:lnTo>
                        <a:pt x="37" y="77"/>
                      </a:lnTo>
                      <a:lnTo>
                        <a:pt x="24" y="22"/>
                      </a:lnTo>
                      <a:lnTo>
                        <a:pt x="37" y="22"/>
                      </a:lnTo>
                      <a:close/>
                    </a:path>
                  </a:pathLst>
                </a:cu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86" name="Oval 51"/>
                <p:cNvSpPr>
                  <a:spLocks noChangeArrowheads="1"/>
                </p:cNvSpPr>
                <p:nvPr/>
              </p:nvSpPr>
              <p:spPr bwMode="auto">
                <a:xfrm>
                  <a:off x="9939338" y="3811588"/>
                  <a:ext cx="317500" cy="400050"/>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87" name="Freeform 52"/>
                <p:cNvSpPr>
                  <a:spLocks/>
                </p:cNvSpPr>
                <p:nvPr/>
              </p:nvSpPr>
              <p:spPr bwMode="auto">
                <a:xfrm>
                  <a:off x="10063163" y="4254501"/>
                  <a:ext cx="71438" cy="238125"/>
                </a:xfrm>
                <a:custGeom>
                  <a:avLst/>
                  <a:gdLst>
                    <a:gd name="T0" fmla="*/ 45 w 45"/>
                    <a:gd name="T1" fmla="*/ 27 h 150"/>
                    <a:gd name="T2" fmla="*/ 22 w 45"/>
                    <a:gd name="T3" fmla="*/ 0 h 150"/>
                    <a:gd name="T4" fmla="*/ 0 w 45"/>
                    <a:gd name="T5" fmla="*/ 27 h 150"/>
                    <a:gd name="T6" fmla="*/ 17 w 45"/>
                    <a:gd name="T7" fmla="*/ 27 h 150"/>
                    <a:gd name="T8" fmla="*/ 0 w 45"/>
                    <a:gd name="T9" fmla="*/ 93 h 150"/>
                    <a:gd name="T10" fmla="*/ 22 w 45"/>
                    <a:gd name="T11" fmla="*/ 150 h 150"/>
                    <a:gd name="T12" fmla="*/ 45 w 45"/>
                    <a:gd name="T13" fmla="*/ 93 h 150"/>
                    <a:gd name="T14" fmla="*/ 29 w 45"/>
                    <a:gd name="T15" fmla="*/ 27 h 150"/>
                    <a:gd name="T16" fmla="*/ 45 w 45"/>
                    <a:gd name="T17" fmla="*/ 27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150">
                      <a:moveTo>
                        <a:pt x="45" y="27"/>
                      </a:moveTo>
                      <a:lnTo>
                        <a:pt x="22" y="0"/>
                      </a:lnTo>
                      <a:lnTo>
                        <a:pt x="0" y="27"/>
                      </a:lnTo>
                      <a:lnTo>
                        <a:pt x="17" y="27"/>
                      </a:lnTo>
                      <a:lnTo>
                        <a:pt x="0" y="93"/>
                      </a:lnTo>
                      <a:lnTo>
                        <a:pt x="22" y="150"/>
                      </a:lnTo>
                      <a:lnTo>
                        <a:pt x="45" y="93"/>
                      </a:lnTo>
                      <a:lnTo>
                        <a:pt x="29" y="27"/>
                      </a:lnTo>
                      <a:lnTo>
                        <a:pt x="45" y="27"/>
                      </a:lnTo>
                      <a:close/>
                    </a:path>
                  </a:pathLst>
                </a:cu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88" name="Freeform 53"/>
                <p:cNvSpPr>
                  <a:spLocks/>
                </p:cNvSpPr>
                <p:nvPr/>
              </p:nvSpPr>
              <p:spPr bwMode="auto">
                <a:xfrm>
                  <a:off x="10421938" y="4294188"/>
                  <a:ext cx="290513" cy="293688"/>
                </a:xfrm>
                <a:custGeom>
                  <a:avLst/>
                  <a:gdLst>
                    <a:gd name="T0" fmla="*/ 80 w 110"/>
                    <a:gd name="T1" fmla="*/ 0 h 111"/>
                    <a:gd name="T2" fmla="*/ 63 w 110"/>
                    <a:gd name="T3" fmla="*/ 0 h 111"/>
                    <a:gd name="T4" fmla="*/ 18 w 110"/>
                    <a:gd name="T5" fmla="*/ 109 h 111"/>
                    <a:gd name="T6" fmla="*/ 0 w 110"/>
                    <a:gd name="T7" fmla="*/ 66 h 111"/>
                    <a:gd name="T8" fmla="*/ 0 w 110"/>
                    <a:gd name="T9" fmla="*/ 111 h 111"/>
                    <a:gd name="T10" fmla="*/ 110 w 110"/>
                    <a:gd name="T11" fmla="*/ 111 h 111"/>
                    <a:gd name="T12" fmla="*/ 110 w 110"/>
                    <a:gd name="T13" fmla="*/ 30 h 111"/>
                    <a:gd name="T14" fmla="*/ 80 w 110"/>
                    <a:gd name="T15" fmla="*/ 0 h 1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111">
                      <a:moveTo>
                        <a:pt x="80" y="0"/>
                      </a:moveTo>
                      <a:cubicBezTo>
                        <a:pt x="63" y="0"/>
                        <a:pt x="63" y="0"/>
                        <a:pt x="63" y="0"/>
                      </a:cubicBezTo>
                      <a:cubicBezTo>
                        <a:pt x="18" y="109"/>
                        <a:pt x="18" y="109"/>
                        <a:pt x="18" y="109"/>
                      </a:cubicBezTo>
                      <a:cubicBezTo>
                        <a:pt x="0" y="66"/>
                        <a:pt x="0" y="66"/>
                        <a:pt x="0" y="66"/>
                      </a:cubicBezTo>
                      <a:cubicBezTo>
                        <a:pt x="0" y="111"/>
                        <a:pt x="0" y="111"/>
                        <a:pt x="0" y="111"/>
                      </a:cubicBezTo>
                      <a:cubicBezTo>
                        <a:pt x="110" y="111"/>
                        <a:pt x="110" y="111"/>
                        <a:pt x="110" y="111"/>
                      </a:cubicBezTo>
                      <a:cubicBezTo>
                        <a:pt x="110" y="30"/>
                        <a:pt x="110" y="30"/>
                        <a:pt x="110" y="30"/>
                      </a:cubicBezTo>
                      <a:cubicBezTo>
                        <a:pt x="110" y="13"/>
                        <a:pt x="97" y="0"/>
                        <a:pt x="8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89" name="Freeform 54"/>
                <p:cNvSpPr>
                  <a:spLocks/>
                </p:cNvSpPr>
                <p:nvPr/>
              </p:nvSpPr>
              <p:spPr bwMode="auto">
                <a:xfrm>
                  <a:off x="9471025" y="4294188"/>
                  <a:ext cx="288925" cy="293688"/>
                </a:xfrm>
                <a:custGeom>
                  <a:avLst/>
                  <a:gdLst>
                    <a:gd name="T0" fmla="*/ 109 w 109"/>
                    <a:gd name="T1" fmla="*/ 83 h 111"/>
                    <a:gd name="T2" fmla="*/ 98 w 109"/>
                    <a:gd name="T3" fmla="*/ 109 h 111"/>
                    <a:gd name="T4" fmla="*/ 53 w 109"/>
                    <a:gd name="T5" fmla="*/ 0 h 111"/>
                    <a:gd name="T6" fmla="*/ 30 w 109"/>
                    <a:gd name="T7" fmla="*/ 0 h 111"/>
                    <a:gd name="T8" fmla="*/ 0 w 109"/>
                    <a:gd name="T9" fmla="*/ 30 h 111"/>
                    <a:gd name="T10" fmla="*/ 0 w 109"/>
                    <a:gd name="T11" fmla="*/ 111 h 111"/>
                    <a:gd name="T12" fmla="*/ 109 w 109"/>
                    <a:gd name="T13" fmla="*/ 111 h 111"/>
                    <a:gd name="T14" fmla="*/ 109 w 109"/>
                    <a:gd name="T15" fmla="*/ 83 h 1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 h="111">
                      <a:moveTo>
                        <a:pt x="109" y="83"/>
                      </a:moveTo>
                      <a:cubicBezTo>
                        <a:pt x="98" y="109"/>
                        <a:pt x="98" y="109"/>
                        <a:pt x="98" y="109"/>
                      </a:cubicBezTo>
                      <a:cubicBezTo>
                        <a:pt x="53" y="0"/>
                        <a:pt x="53" y="0"/>
                        <a:pt x="53" y="0"/>
                      </a:cubicBezTo>
                      <a:cubicBezTo>
                        <a:pt x="30" y="0"/>
                        <a:pt x="30" y="0"/>
                        <a:pt x="30" y="0"/>
                      </a:cubicBezTo>
                      <a:cubicBezTo>
                        <a:pt x="14" y="0"/>
                        <a:pt x="0" y="13"/>
                        <a:pt x="0" y="30"/>
                      </a:cubicBezTo>
                      <a:cubicBezTo>
                        <a:pt x="0" y="111"/>
                        <a:pt x="0" y="111"/>
                        <a:pt x="0" y="111"/>
                      </a:cubicBezTo>
                      <a:cubicBezTo>
                        <a:pt x="109" y="111"/>
                        <a:pt x="109" y="111"/>
                        <a:pt x="109" y="111"/>
                      </a:cubicBezTo>
                      <a:lnTo>
                        <a:pt x="109" y="83"/>
                      </a:lnTo>
                      <a:close/>
                    </a:path>
                  </a:pathLst>
                </a:cu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90" name="Freeform 55"/>
                <p:cNvSpPr>
                  <a:spLocks noEditPoints="1"/>
                </p:cNvSpPr>
                <p:nvPr/>
              </p:nvSpPr>
              <p:spPr bwMode="auto">
                <a:xfrm>
                  <a:off x="9788525" y="4233863"/>
                  <a:ext cx="603250" cy="354013"/>
                </a:xfrm>
                <a:custGeom>
                  <a:avLst/>
                  <a:gdLst>
                    <a:gd name="T0" fmla="*/ 192 w 228"/>
                    <a:gd name="T1" fmla="*/ 0 h 134"/>
                    <a:gd name="T2" fmla="*/ 162 w 228"/>
                    <a:gd name="T3" fmla="*/ 0 h 134"/>
                    <a:gd name="T4" fmla="*/ 142 w 228"/>
                    <a:gd name="T5" fmla="*/ 20 h 134"/>
                    <a:gd name="T6" fmla="*/ 152 w 228"/>
                    <a:gd name="T7" fmla="*/ 35 h 134"/>
                    <a:gd name="T8" fmla="*/ 142 w 228"/>
                    <a:gd name="T9" fmla="*/ 46 h 134"/>
                    <a:gd name="T10" fmla="*/ 154 w 228"/>
                    <a:gd name="T11" fmla="*/ 57 h 134"/>
                    <a:gd name="T12" fmla="*/ 117 w 228"/>
                    <a:gd name="T13" fmla="*/ 131 h 134"/>
                    <a:gd name="T14" fmla="*/ 79 w 228"/>
                    <a:gd name="T15" fmla="*/ 54 h 134"/>
                    <a:gd name="T16" fmla="*/ 89 w 228"/>
                    <a:gd name="T17" fmla="*/ 43 h 134"/>
                    <a:gd name="T18" fmla="*/ 78 w 228"/>
                    <a:gd name="T19" fmla="*/ 32 h 134"/>
                    <a:gd name="T20" fmla="*/ 89 w 228"/>
                    <a:gd name="T21" fmla="*/ 19 h 134"/>
                    <a:gd name="T22" fmla="*/ 70 w 228"/>
                    <a:gd name="T23" fmla="*/ 0 h 134"/>
                    <a:gd name="T24" fmla="*/ 36 w 228"/>
                    <a:gd name="T25" fmla="*/ 0 h 134"/>
                    <a:gd name="T26" fmla="*/ 0 w 228"/>
                    <a:gd name="T27" fmla="*/ 36 h 134"/>
                    <a:gd name="T28" fmla="*/ 0 w 228"/>
                    <a:gd name="T29" fmla="*/ 134 h 134"/>
                    <a:gd name="T30" fmla="*/ 228 w 228"/>
                    <a:gd name="T31" fmla="*/ 134 h 134"/>
                    <a:gd name="T32" fmla="*/ 228 w 228"/>
                    <a:gd name="T33" fmla="*/ 36 h 134"/>
                    <a:gd name="T34" fmla="*/ 192 w 228"/>
                    <a:gd name="T35" fmla="*/ 0 h 134"/>
                    <a:gd name="T36" fmla="*/ 214 w 228"/>
                    <a:gd name="T37" fmla="*/ 56 h 134"/>
                    <a:gd name="T38" fmla="*/ 170 w 228"/>
                    <a:gd name="T39" fmla="*/ 56 h 134"/>
                    <a:gd name="T40" fmla="*/ 170 w 228"/>
                    <a:gd name="T41" fmla="*/ 43 h 134"/>
                    <a:gd name="T42" fmla="*/ 214 w 228"/>
                    <a:gd name="T43" fmla="*/ 43 h 134"/>
                    <a:gd name="T44" fmla="*/ 214 w 228"/>
                    <a:gd name="T45" fmla="*/ 5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8" h="134">
                      <a:moveTo>
                        <a:pt x="192" y="0"/>
                      </a:moveTo>
                      <a:cubicBezTo>
                        <a:pt x="162" y="0"/>
                        <a:pt x="162" y="0"/>
                        <a:pt x="162" y="0"/>
                      </a:cubicBezTo>
                      <a:cubicBezTo>
                        <a:pt x="142" y="20"/>
                        <a:pt x="142" y="20"/>
                        <a:pt x="142" y="20"/>
                      </a:cubicBezTo>
                      <a:cubicBezTo>
                        <a:pt x="152" y="35"/>
                        <a:pt x="152" y="35"/>
                        <a:pt x="152" y="35"/>
                      </a:cubicBezTo>
                      <a:cubicBezTo>
                        <a:pt x="142" y="46"/>
                        <a:pt x="142" y="46"/>
                        <a:pt x="142" y="46"/>
                      </a:cubicBezTo>
                      <a:cubicBezTo>
                        <a:pt x="154" y="57"/>
                        <a:pt x="154" y="57"/>
                        <a:pt x="154" y="57"/>
                      </a:cubicBezTo>
                      <a:cubicBezTo>
                        <a:pt x="117" y="131"/>
                        <a:pt x="117" y="131"/>
                        <a:pt x="117" y="131"/>
                      </a:cubicBezTo>
                      <a:cubicBezTo>
                        <a:pt x="79" y="54"/>
                        <a:pt x="79" y="54"/>
                        <a:pt x="79" y="54"/>
                      </a:cubicBezTo>
                      <a:cubicBezTo>
                        <a:pt x="89" y="43"/>
                        <a:pt x="89" y="43"/>
                        <a:pt x="89" y="43"/>
                      </a:cubicBezTo>
                      <a:cubicBezTo>
                        <a:pt x="78" y="32"/>
                        <a:pt x="78" y="32"/>
                        <a:pt x="78" y="32"/>
                      </a:cubicBezTo>
                      <a:cubicBezTo>
                        <a:pt x="89" y="19"/>
                        <a:pt x="89" y="19"/>
                        <a:pt x="89" y="19"/>
                      </a:cubicBezTo>
                      <a:cubicBezTo>
                        <a:pt x="70" y="0"/>
                        <a:pt x="70" y="0"/>
                        <a:pt x="70" y="0"/>
                      </a:cubicBezTo>
                      <a:cubicBezTo>
                        <a:pt x="36" y="0"/>
                        <a:pt x="36" y="0"/>
                        <a:pt x="36" y="0"/>
                      </a:cubicBezTo>
                      <a:cubicBezTo>
                        <a:pt x="16" y="0"/>
                        <a:pt x="0" y="16"/>
                        <a:pt x="0" y="36"/>
                      </a:cubicBezTo>
                      <a:cubicBezTo>
                        <a:pt x="0" y="134"/>
                        <a:pt x="0" y="134"/>
                        <a:pt x="0" y="134"/>
                      </a:cubicBezTo>
                      <a:cubicBezTo>
                        <a:pt x="228" y="134"/>
                        <a:pt x="228" y="134"/>
                        <a:pt x="228" y="134"/>
                      </a:cubicBezTo>
                      <a:cubicBezTo>
                        <a:pt x="228" y="36"/>
                        <a:pt x="228" y="36"/>
                        <a:pt x="228" y="36"/>
                      </a:cubicBezTo>
                      <a:cubicBezTo>
                        <a:pt x="228" y="16"/>
                        <a:pt x="212" y="0"/>
                        <a:pt x="192" y="0"/>
                      </a:cubicBezTo>
                      <a:close/>
                      <a:moveTo>
                        <a:pt x="214" y="56"/>
                      </a:moveTo>
                      <a:cubicBezTo>
                        <a:pt x="170" y="56"/>
                        <a:pt x="170" y="56"/>
                        <a:pt x="170" y="56"/>
                      </a:cubicBezTo>
                      <a:cubicBezTo>
                        <a:pt x="170" y="43"/>
                        <a:pt x="170" y="43"/>
                        <a:pt x="170" y="43"/>
                      </a:cubicBezTo>
                      <a:cubicBezTo>
                        <a:pt x="214" y="43"/>
                        <a:pt x="214" y="43"/>
                        <a:pt x="214" y="43"/>
                      </a:cubicBezTo>
                      <a:lnTo>
                        <a:pt x="214" y="56"/>
                      </a:lnTo>
                      <a:close/>
                    </a:path>
                  </a:pathLst>
                </a:custGeom>
                <a:grpFill/>
                <a:ln>
                  <a:noFill/>
                </a:ln>
              </p:spPr>
              <p:txBody>
                <a:bodyPr vert="horz" wrap="square" lIns="91440" tIns="45720" rIns="91440" bIns="45720" numCol="1" anchor="t" anchorCtr="0" compatLnSpc="1">
                  <a:prstTxWarp prst="textNoShape">
                    <a:avLst/>
                  </a:prstTxWarp>
                </a:bodyPr>
                <a:lstStyle/>
                <a:p>
                  <a:endParaRPr lang="en-US" sz="900" noProof="1"/>
                </a:p>
              </p:txBody>
            </p:sp>
          </p:grpSp>
        </p:grpSp>
      </p:grpSp>
      <p:grpSp>
        <p:nvGrpSpPr>
          <p:cNvPr id="91" name="Group 122"/>
          <p:cNvGrpSpPr/>
          <p:nvPr/>
        </p:nvGrpSpPr>
        <p:grpSpPr>
          <a:xfrm>
            <a:off x="7293333" y="2187920"/>
            <a:ext cx="916305" cy="990933"/>
            <a:chOff x="1647955" y="1194792"/>
            <a:chExt cx="916305" cy="990933"/>
          </a:xfrm>
        </p:grpSpPr>
        <p:sp>
          <p:nvSpPr>
            <p:cNvPr id="92" name="Freeform 7"/>
            <p:cNvSpPr>
              <a:spLocks/>
            </p:cNvSpPr>
            <p:nvPr/>
          </p:nvSpPr>
          <p:spPr bwMode="auto">
            <a:xfrm>
              <a:off x="1647955" y="1194792"/>
              <a:ext cx="916305" cy="370708"/>
            </a:xfrm>
            <a:prstGeom prst="rect">
              <a:avLst/>
            </a:prstGeom>
            <a:solidFill>
              <a:schemeClr val="bg1"/>
            </a:solidFill>
            <a:ln w="9525" algn="ctr">
              <a:noFill/>
              <a:miter lim="800000"/>
              <a:headEnd type="none" w="lg" len="lg"/>
              <a:tailEnd type="none" w="lg" len="lg"/>
            </a:ln>
          </p:spPr>
          <p:txBody>
            <a:bodyPr lIns="0" tIns="0" rIns="0" bIns="0" anchor="ctr"/>
            <a:lstStyle/>
            <a:p>
              <a:pPr algn="ctr" defTabSz="1040767">
                <a:lnSpc>
                  <a:spcPct val="90000"/>
                </a:lnSpc>
              </a:pPr>
              <a:r>
                <a:rPr lang="en-US" sz="900" b="1" noProof="1">
                  <a:solidFill>
                    <a:schemeClr val="tx2"/>
                  </a:solidFill>
                  <a:ea typeface="ヒラギノ角ゴ Pro W3"/>
                  <a:cs typeface="ヒラギノ角ゴ Pro W3"/>
                </a:rPr>
                <a:t>Investors</a:t>
              </a:r>
            </a:p>
          </p:txBody>
        </p:sp>
        <p:grpSp>
          <p:nvGrpSpPr>
            <p:cNvPr id="93" name="Group 100"/>
            <p:cNvGrpSpPr/>
            <p:nvPr/>
          </p:nvGrpSpPr>
          <p:grpSpPr>
            <a:xfrm>
              <a:off x="1818075" y="1609661"/>
              <a:ext cx="576064" cy="576064"/>
              <a:chOff x="1818075" y="1609661"/>
              <a:chExt cx="576064" cy="576064"/>
            </a:xfrm>
          </p:grpSpPr>
          <p:sp>
            <p:nvSpPr>
              <p:cNvPr id="94" name="Rectangle 93"/>
              <p:cNvSpPr/>
              <p:nvPr/>
            </p:nvSpPr>
            <p:spPr>
              <a:xfrm>
                <a:off x="1818075" y="1609661"/>
                <a:ext cx="576064" cy="57606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95" name="Group 48"/>
              <p:cNvGrpSpPr/>
              <p:nvPr/>
            </p:nvGrpSpPr>
            <p:grpSpPr>
              <a:xfrm>
                <a:off x="1900735" y="1769269"/>
                <a:ext cx="410745" cy="256848"/>
                <a:chOff x="9471025" y="3811588"/>
                <a:chExt cx="1241426" cy="776288"/>
              </a:xfrm>
              <a:solidFill>
                <a:schemeClr val="bg1"/>
              </a:solidFill>
            </p:grpSpPr>
            <p:sp>
              <p:nvSpPr>
                <p:cNvPr id="96" name="Oval 8"/>
                <p:cNvSpPr>
                  <a:spLocks noChangeArrowheads="1"/>
                </p:cNvSpPr>
                <p:nvPr/>
              </p:nvSpPr>
              <p:spPr bwMode="auto">
                <a:xfrm>
                  <a:off x="9598025" y="3941763"/>
                  <a:ext cx="265113" cy="333375"/>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97" name="Freeform 9"/>
                <p:cNvSpPr>
                  <a:spLocks/>
                </p:cNvSpPr>
                <p:nvPr/>
              </p:nvSpPr>
              <p:spPr bwMode="auto">
                <a:xfrm>
                  <a:off x="9701213" y="4310063"/>
                  <a:ext cx="58738" cy="198438"/>
                </a:xfrm>
                <a:custGeom>
                  <a:avLst/>
                  <a:gdLst>
                    <a:gd name="T0" fmla="*/ 37 w 37"/>
                    <a:gd name="T1" fmla="*/ 22 h 125"/>
                    <a:gd name="T2" fmla="*/ 18 w 37"/>
                    <a:gd name="T3" fmla="*/ 0 h 125"/>
                    <a:gd name="T4" fmla="*/ 0 w 37"/>
                    <a:gd name="T5" fmla="*/ 22 h 125"/>
                    <a:gd name="T6" fmla="*/ 13 w 37"/>
                    <a:gd name="T7" fmla="*/ 22 h 125"/>
                    <a:gd name="T8" fmla="*/ 0 w 37"/>
                    <a:gd name="T9" fmla="*/ 77 h 125"/>
                    <a:gd name="T10" fmla="*/ 18 w 37"/>
                    <a:gd name="T11" fmla="*/ 125 h 125"/>
                    <a:gd name="T12" fmla="*/ 37 w 37"/>
                    <a:gd name="T13" fmla="*/ 77 h 125"/>
                    <a:gd name="T14" fmla="*/ 23 w 37"/>
                    <a:gd name="T15" fmla="*/ 22 h 125"/>
                    <a:gd name="T16" fmla="*/ 37 w 37"/>
                    <a:gd name="T17" fmla="*/ 2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125">
                      <a:moveTo>
                        <a:pt x="37" y="22"/>
                      </a:moveTo>
                      <a:lnTo>
                        <a:pt x="18" y="0"/>
                      </a:lnTo>
                      <a:lnTo>
                        <a:pt x="0" y="22"/>
                      </a:lnTo>
                      <a:lnTo>
                        <a:pt x="13" y="22"/>
                      </a:lnTo>
                      <a:lnTo>
                        <a:pt x="0" y="77"/>
                      </a:lnTo>
                      <a:lnTo>
                        <a:pt x="18" y="125"/>
                      </a:lnTo>
                      <a:lnTo>
                        <a:pt x="37" y="77"/>
                      </a:lnTo>
                      <a:lnTo>
                        <a:pt x="23" y="22"/>
                      </a:lnTo>
                      <a:lnTo>
                        <a:pt x="37" y="22"/>
                      </a:lnTo>
                      <a:close/>
                    </a:path>
                  </a:pathLst>
                </a:cu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98" name="Oval 10"/>
                <p:cNvSpPr>
                  <a:spLocks noChangeArrowheads="1"/>
                </p:cNvSpPr>
                <p:nvPr/>
              </p:nvSpPr>
              <p:spPr bwMode="auto">
                <a:xfrm>
                  <a:off x="10336213" y="3941763"/>
                  <a:ext cx="265113" cy="333375"/>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99" name="Freeform 11"/>
                <p:cNvSpPr>
                  <a:spLocks/>
                </p:cNvSpPr>
                <p:nvPr/>
              </p:nvSpPr>
              <p:spPr bwMode="auto">
                <a:xfrm>
                  <a:off x="10439400" y="4310063"/>
                  <a:ext cx="58738" cy="198438"/>
                </a:xfrm>
                <a:custGeom>
                  <a:avLst/>
                  <a:gdLst>
                    <a:gd name="T0" fmla="*/ 37 w 37"/>
                    <a:gd name="T1" fmla="*/ 22 h 125"/>
                    <a:gd name="T2" fmla="*/ 19 w 37"/>
                    <a:gd name="T3" fmla="*/ 0 h 125"/>
                    <a:gd name="T4" fmla="*/ 0 w 37"/>
                    <a:gd name="T5" fmla="*/ 22 h 125"/>
                    <a:gd name="T6" fmla="*/ 14 w 37"/>
                    <a:gd name="T7" fmla="*/ 22 h 125"/>
                    <a:gd name="T8" fmla="*/ 0 w 37"/>
                    <a:gd name="T9" fmla="*/ 77 h 125"/>
                    <a:gd name="T10" fmla="*/ 19 w 37"/>
                    <a:gd name="T11" fmla="*/ 125 h 125"/>
                    <a:gd name="T12" fmla="*/ 37 w 37"/>
                    <a:gd name="T13" fmla="*/ 77 h 125"/>
                    <a:gd name="T14" fmla="*/ 24 w 37"/>
                    <a:gd name="T15" fmla="*/ 22 h 125"/>
                    <a:gd name="T16" fmla="*/ 37 w 37"/>
                    <a:gd name="T17" fmla="*/ 2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125">
                      <a:moveTo>
                        <a:pt x="37" y="22"/>
                      </a:moveTo>
                      <a:lnTo>
                        <a:pt x="19" y="0"/>
                      </a:lnTo>
                      <a:lnTo>
                        <a:pt x="0" y="22"/>
                      </a:lnTo>
                      <a:lnTo>
                        <a:pt x="14" y="22"/>
                      </a:lnTo>
                      <a:lnTo>
                        <a:pt x="0" y="77"/>
                      </a:lnTo>
                      <a:lnTo>
                        <a:pt x="19" y="125"/>
                      </a:lnTo>
                      <a:lnTo>
                        <a:pt x="37" y="77"/>
                      </a:lnTo>
                      <a:lnTo>
                        <a:pt x="24" y="22"/>
                      </a:lnTo>
                      <a:lnTo>
                        <a:pt x="37" y="22"/>
                      </a:lnTo>
                      <a:close/>
                    </a:path>
                  </a:pathLst>
                </a:cu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100" name="Oval 51"/>
                <p:cNvSpPr>
                  <a:spLocks noChangeArrowheads="1"/>
                </p:cNvSpPr>
                <p:nvPr/>
              </p:nvSpPr>
              <p:spPr bwMode="auto">
                <a:xfrm>
                  <a:off x="9939338" y="3811588"/>
                  <a:ext cx="317500" cy="400050"/>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101" name="Freeform 52"/>
                <p:cNvSpPr>
                  <a:spLocks/>
                </p:cNvSpPr>
                <p:nvPr/>
              </p:nvSpPr>
              <p:spPr bwMode="auto">
                <a:xfrm>
                  <a:off x="10063163" y="4254501"/>
                  <a:ext cx="71438" cy="238125"/>
                </a:xfrm>
                <a:custGeom>
                  <a:avLst/>
                  <a:gdLst>
                    <a:gd name="T0" fmla="*/ 45 w 45"/>
                    <a:gd name="T1" fmla="*/ 27 h 150"/>
                    <a:gd name="T2" fmla="*/ 22 w 45"/>
                    <a:gd name="T3" fmla="*/ 0 h 150"/>
                    <a:gd name="T4" fmla="*/ 0 w 45"/>
                    <a:gd name="T5" fmla="*/ 27 h 150"/>
                    <a:gd name="T6" fmla="*/ 17 w 45"/>
                    <a:gd name="T7" fmla="*/ 27 h 150"/>
                    <a:gd name="T8" fmla="*/ 0 w 45"/>
                    <a:gd name="T9" fmla="*/ 93 h 150"/>
                    <a:gd name="T10" fmla="*/ 22 w 45"/>
                    <a:gd name="T11" fmla="*/ 150 h 150"/>
                    <a:gd name="T12" fmla="*/ 45 w 45"/>
                    <a:gd name="T13" fmla="*/ 93 h 150"/>
                    <a:gd name="T14" fmla="*/ 29 w 45"/>
                    <a:gd name="T15" fmla="*/ 27 h 150"/>
                    <a:gd name="T16" fmla="*/ 45 w 45"/>
                    <a:gd name="T17" fmla="*/ 27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150">
                      <a:moveTo>
                        <a:pt x="45" y="27"/>
                      </a:moveTo>
                      <a:lnTo>
                        <a:pt x="22" y="0"/>
                      </a:lnTo>
                      <a:lnTo>
                        <a:pt x="0" y="27"/>
                      </a:lnTo>
                      <a:lnTo>
                        <a:pt x="17" y="27"/>
                      </a:lnTo>
                      <a:lnTo>
                        <a:pt x="0" y="93"/>
                      </a:lnTo>
                      <a:lnTo>
                        <a:pt x="22" y="150"/>
                      </a:lnTo>
                      <a:lnTo>
                        <a:pt x="45" y="93"/>
                      </a:lnTo>
                      <a:lnTo>
                        <a:pt x="29" y="27"/>
                      </a:lnTo>
                      <a:lnTo>
                        <a:pt x="45" y="27"/>
                      </a:lnTo>
                      <a:close/>
                    </a:path>
                  </a:pathLst>
                </a:cu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102" name="Freeform 53"/>
                <p:cNvSpPr>
                  <a:spLocks/>
                </p:cNvSpPr>
                <p:nvPr/>
              </p:nvSpPr>
              <p:spPr bwMode="auto">
                <a:xfrm>
                  <a:off x="10421938" y="4294188"/>
                  <a:ext cx="290513" cy="293688"/>
                </a:xfrm>
                <a:custGeom>
                  <a:avLst/>
                  <a:gdLst>
                    <a:gd name="T0" fmla="*/ 80 w 110"/>
                    <a:gd name="T1" fmla="*/ 0 h 111"/>
                    <a:gd name="T2" fmla="*/ 63 w 110"/>
                    <a:gd name="T3" fmla="*/ 0 h 111"/>
                    <a:gd name="T4" fmla="*/ 18 w 110"/>
                    <a:gd name="T5" fmla="*/ 109 h 111"/>
                    <a:gd name="T6" fmla="*/ 0 w 110"/>
                    <a:gd name="T7" fmla="*/ 66 h 111"/>
                    <a:gd name="T8" fmla="*/ 0 w 110"/>
                    <a:gd name="T9" fmla="*/ 111 h 111"/>
                    <a:gd name="T10" fmla="*/ 110 w 110"/>
                    <a:gd name="T11" fmla="*/ 111 h 111"/>
                    <a:gd name="T12" fmla="*/ 110 w 110"/>
                    <a:gd name="T13" fmla="*/ 30 h 111"/>
                    <a:gd name="T14" fmla="*/ 80 w 110"/>
                    <a:gd name="T15" fmla="*/ 0 h 1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111">
                      <a:moveTo>
                        <a:pt x="80" y="0"/>
                      </a:moveTo>
                      <a:cubicBezTo>
                        <a:pt x="63" y="0"/>
                        <a:pt x="63" y="0"/>
                        <a:pt x="63" y="0"/>
                      </a:cubicBezTo>
                      <a:cubicBezTo>
                        <a:pt x="18" y="109"/>
                        <a:pt x="18" y="109"/>
                        <a:pt x="18" y="109"/>
                      </a:cubicBezTo>
                      <a:cubicBezTo>
                        <a:pt x="0" y="66"/>
                        <a:pt x="0" y="66"/>
                        <a:pt x="0" y="66"/>
                      </a:cubicBezTo>
                      <a:cubicBezTo>
                        <a:pt x="0" y="111"/>
                        <a:pt x="0" y="111"/>
                        <a:pt x="0" y="111"/>
                      </a:cubicBezTo>
                      <a:cubicBezTo>
                        <a:pt x="110" y="111"/>
                        <a:pt x="110" y="111"/>
                        <a:pt x="110" y="111"/>
                      </a:cubicBezTo>
                      <a:cubicBezTo>
                        <a:pt x="110" y="30"/>
                        <a:pt x="110" y="30"/>
                        <a:pt x="110" y="30"/>
                      </a:cubicBezTo>
                      <a:cubicBezTo>
                        <a:pt x="110" y="13"/>
                        <a:pt x="97" y="0"/>
                        <a:pt x="8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103" name="Freeform 54"/>
                <p:cNvSpPr>
                  <a:spLocks/>
                </p:cNvSpPr>
                <p:nvPr/>
              </p:nvSpPr>
              <p:spPr bwMode="auto">
                <a:xfrm>
                  <a:off x="9471025" y="4294188"/>
                  <a:ext cx="288925" cy="293688"/>
                </a:xfrm>
                <a:custGeom>
                  <a:avLst/>
                  <a:gdLst>
                    <a:gd name="T0" fmla="*/ 109 w 109"/>
                    <a:gd name="T1" fmla="*/ 83 h 111"/>
                    <a:gd name="T2" fmla="*/ 98 w 109"/>
                    <a:gd name="T3" fmla="*/ 109 h 111"/>
                    <a:gd name="T4" fmla="*/ 53 w 109"/>
                    <a:gd name="T5" fmla="*/ 0 h 111"/>
                    <a:gd name="T6" fmla="*/ 30 w 109"/>
                    <a:gd name="T7" fmla="*/ 0 h 111"/>
                    <a:gd name="T8" fmla="*/ 0 w 109"/>
                    <a:gd name="T9" fmla="*/ 30 h 111"/>
                    <a:gd name="T10" fmla="*/ 0 w 109"/>
                    <a:gd name="T11" fmla="*/ 111 h 111"/>
                    <a:gd name="T12" fmla="*/ 109 w 109"/>
                    <a:gd name="T13" fmla="*/ 111 h 111"/>
                    <a:gd name="T14" fmla="*/ 109 w 109"/>
                    <a:gd name="T15" fmla="*/ 83 h 1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 h="111">
                      <a:moveTo>
                        <a:pt x="109" y="83"/>
                      </a:moveTo>
                      <a:cubicBezTo>
                        <a:pt x="98" y="109"/>
                        <a:pt x="98" y="109"/>
                        <a:pt x="98" y="109"/>
                      </a:cubicBezTo>
                      <a:cubicBezTo>
                        <a:pt x="53" y="0"/>
                        <a:pt x="53" y="0"/>
                        <a:pt x="53" y="0"/>
                      </a:cubicBezTo>
                      <a:cubicBezTo>
                        <a:pt x="30" y="0"/>
                        <a:pt x="30" y="0"/>
                        <a:pt x="30" y="0"/>
                      </a:cubicBezTo>
                      <a:cubicBezTo>
                        <a:pt x="14" y="0"/>
                        <a:pt x="0" y="13"/>
                        <a:pt x="0" y="30"/>
                      </a:cubicBezTo>
                      <a:cubicBezTo>
                        <a:pt x="0" y="111"/>
                        <a:pt x="0" y="111"/>
                        <a:pt x="0" y="111"/>
                      </a:cubicBezTo>
                      <a:cubicBezTo>
                        <a:pt x="109" y="111"/>
                        <a:pt x="109" y="111"/>
                        <a:pt x="109" y="111"/>
                      </a:cubicBezTo>
                      <a:lnTo>
                        <a:pt x="109" y="83"/>
                      </a:lnTo>
                      <a:close/>
                    </a:path>
                  </a:pathLst>
                </a:cu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104" name="Freeform 55"/>
                <p:cNvSpPr>
                  <a:spLocks noEditPoints="1"/>
                </p:cNvSpPr>
                <p:nvPr/>
              </p:nvSpPr>
              <p:spPr bwMode="auto">
                <a:xfrm>
                  <a:off x="9788525" y="4233863"/>
                  <a:ext cx="603250" cy="354013"/>
                </a:xfrm>
                <a:custGeom>
                  <a:avLst/>
                  <a:gdLst>
                    <a:gd name="T0" fmla="*/ 192 w 228"/>
                    <a:gd name="T1" fmla="*/ 0 h 134"/>
                    <a:gd name="T2" fmla="*/ 162 w 228"/>
                    <a:gd name="T3" fmla="*/ 0 h 134"/>
                    <a:gd name="T4" fmla="*/ 142 w 228"/>
                    <a:gd name="T5" fmla="*/ 20 h 134"/>
                    <a:gd name="T6" fmla="*/ 152 w 228"/>
                    <a:gd name="T7" fmla="*/ 35 h 134"/>
                    <a:gd name="T8" fmla="*/ 142 w 228"/>
                    <a:gd name="T9" fmla="*/ 46 h 134"/>
                    <a:gd name="T10" fmla="*/ 154 w 228"/>
                    <a:gd name="T11" fmla="*/ 57 h 134"/>
                    <a:gd name="T12" fmla="*/ 117 w 228"/>
                    <a:gd name="T13" fmla="*/ 131 h 134"/>
                    <a:gd name="T14" fmla="*/ 79 w 228"/>
                    <a:gd name="T15" fmla="*/ 54 h 134"/>
                    <a:gd name="T16" fmla="*/ 89 w 228"/>
                    <a:gd name="T17" fmla="*/ 43 h 134"/>
                    <a:gd name="T18" fmla="*/ 78 w 228"/>
                    <a:gd name="T19" fmla="*/ 32 h 134"/>
                    <a:gd name="T20" fmla="*/ 89 w 228"/>
                    <a:gd name="T21" fmla="*/ 19 h 134"/>
                    <a:gd name="T22" fmla="*/ 70 w 228"/>
                    <a:gd name="T23" fmla="*/ 0 h 134"/>
                    <a:gd name="T24" fmla="*/ 36 w 228"/>
                    <a:gd name="T25" fmla="*/ 0 h 134"/>
                    <a:gd name="T26" fmla="*/ 0 w 228"/>
                    <a:gd name="T27" fmla="*/ 36 h 134"/>
                    <a:gd name="T28" fmla="*/ 0 w 228"/>
                    <a:gd name="T29" fmla="*/ 134 h 134"/>
                    <a:gd name="T30" fmla="*/ 228 w 228"/>
                    <a:gd name="T31" fmla="*/ 134 h 134"/>
                    <a:gd name="T32" fmla="*/ 228 w 228"/>
                    <a:gd name="T33" fmla="*/ 36 h 134"/>
                    <a:gd name="T34" fmla="*/ 192 w 228"/>
                    <a:gd name="T35" fmla="*/ 0 h 134"/>
                    <a:gd name="T36" fmla="*/ 214 w 228"/>
                    <a:gd name="T37" fmla="*/ 56 h 134"/>
                    <a:gd name="T38" fmla="*/ 170 w 228"/>
                    <a:gd name="T39" fmla="*/ 56 h 134"/>
                    <a:gd name="T40" fmla="*/ 170 w 228"/>
                    <a:gd name="T41" fmla="*/ 43 h 134"/>
                    <a:gd name="T42" fmla="*/ 214 w 228"/>
                    <a:gd name="T43" fmla="*/ 43 h 134"/>
                    <a:gd name="T44" fmla="*/ 214 w 228"/>
                    <a:gd name="T45" fmla="*/ 5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8" h="134">
                      <a:moveTo>
                        <a:pt x="192" y="0"/>
                      </a:moveTo>
                      <a:cubicBezTo>
                        <a:pt x="162" y="0"/>
                        <a:pt x="162" y="0"/>
                        <a:pt x="162" y="0"/>
                      </a:cubicBezTo>
                      <a:cubicBezTo>
                        <a:pt x="142" y="20"/>
                        <a:pt x="142" y="20"/>
                        <a:pt x="142" y="20"/>
                      </a:cubicBezTo>
                      <a:cubicBezTo>
                        <a:pt x="152" y="35"/>
                        <a:pt x="152" y="35"/>
                        <a:pt x="152" y="35"/>
                      </a:cubicBezTo>
                      <a:cubicBezTo>
                        <a:pt x="142" y="46"/>
                        <a:pt x="142" y="46"/>
                        <a:pt x="142" y="46"/>
                      </a:cubicBezTo>
                      <a:cubicBezTo>
                        <a:pt x="154" y="57"/>
                        <a:pt x="154" y="57"/>
                        <a:pt x="154" y="57"/>
                      </a:cubicBezTo>
                      <a:cubicBezTo>
                        <a:pt x="117" y="131"/>
                        <a:pt x="117" y="131"/>
                        <a:pt x="117" y="131"/>
                      </a:cubicBezTo>
                      <a:cubicBezTo>
                        <a:pt x="79" y="54"/>
                        <a:pt x="79" y="54"/>
                        <a:pt x="79" y="54"/>
                      </a:cubicBezTo>
                      <a:cubicBezTo>
                        <a:pt x="89" y="43"/>
                        <a:pt x="89" y="43"/>
                        <a:pt x="89" y="43"/>
                      </a:cubicBezTo>
                      <a:cubicBezTo>
                        <a:pt x="78" y="32"/>
                        <a:pt x="78" y="32"/>
                        <a:pt x="78" y="32"/>
                      </a:cubicBezTo>
                      <a:cubicBezTo>
                        <a:pt x="89" y="19"/>
                        <a:pt x="89" y="19"/>
                        <a:pt x="89" y="19"/>
                      </a:cubicBezTo>
                      <a:cubicBezTo>
                        <a:pt x="70" y="0"/>
                        <a:pt x="70" y="0"/>
                        <a:pt x="70" y="0"/>
                      </a:cubicBezTo>
                      <a:cubicBezTo>
                        <a:pt x="36" y="0"/>
                        <a:pt x="36" y="0"/>
                        <a:pt x="36" y="0"/>
                      </a:cubicBezTo>
                      <a:cubicBezTo>
                        <a:pt x="16" y="0"/>
                        <a:pt x="0" y="16"/>
                        <a:pt x="0" y="36"/>
                      </a:cubicBezTo>
                      <a:cubicBezTo>
                        <a:pt x="0" y="134"/>
                        <a:pt x="0" y="134"/>
                        <a:pt x="0" y="134"/>
                      </a:cubicBezTo>
                      <a:cubicBezTo>
                        <a:pt x="228" y="134"/>
                        <a:pt x="228" y="134"/>
                        <a:pt x="228" y="134"/>
                      </a:cubicBezTo>
                      <a:cubicBezTo>
                        <a:pt x="228" y="36"/>
                        <a:pt x="228" y="36"/>
                        <a:pt x="228" y="36"/>
                      </a:cubicBezTo>
                      <a:cubicBezTo>
                        <a:pt x="228" y="16"/>
                        <a:pt x="212" y="0"/>
                        <a:pt x="192" y="0"/>
                      </a:cubicBezTo>
                      <a:close/>
                      <a:moveTo>
                        <a:pt x="214" y="56"/>
                      </a:moveTo>
                      <a:cubicBezTo>
                        <a:pt x="170" y="56"/>
                        <a:pt x="170" y="56"/>
                        <a:pt x="170" y="56"/>
                      </a:cubicBezTo>
                      <a:cubicBezTo>
                        <a:pt x="170" y="43"/>
                        <a:pt x="170" y="43"/>
                        <a:pt x="170" y="43"/>
                      </a:cubicBezTo>
                      <a:cubicBezTo>
                        <a:pt x="214" y="43"/>
                        <a:pt x="214" y="43"/>
                        <a:pt x="214" y="43"/>
                      </a:cubicBezTo>
                      <a:lnTo>
                        <a:pt x="214" y="56"/>
                      </a:lnTo>
                      <a:close/>
                    </a:path>
                  </a:pathLst>
                </a:custGeom>
                <a:grpFill/>
                <a:ln>
                  <a:noFill/>
                </a:ln>
              </p:spPr>
              <p:txBody>
                <a:bodyPr vert="horz" wrap="square" lIns="91440" tIns="45720" rIns="91440" bIns="45720" numCol="1" anchor="t" anchorCtr="0" compatLnSpc="1">
                  <a:prstTxWarp prst="textNoShape">
                    <a:avLst/>
                  </a:prstTxWarp>
                </a:bodyPr>
                <a:lstStyle/>
                <a:p>
                  <a:endParaRPr lang="en-US" sz="900" noProof="1"/>
                </a:p>
              </p:txBody>
            </p:sp>
          </p:grpSp>
        </p:grpSp>
      </p:grpSp>
      <p:grpSp>
        <p:nvGrpSpPr>
          <p:cNvPr id="105" name="Group 122"/>
          <p:cNvGrpSpPr/>
          <p:nvPr/>
        </p:nvGrpSpPr>
        <p:grpSpPr>
          <a:xfrm>
            <a:off x="1174725" y="3054930"/>
            <a:ext cx="916305" cy="990933"/>
            <a:chOff x="1647955" y="1194792"/>
            <a:chExt cx="916305" cy="990933"/>
          </a:xfrm>
        </p:grpSpPr>
        <p:sp>
          <p:nvSpPr>
            <p:cNvPr id="106" name="Freeform 7"/>
            <p:cNvSpPr>
              <a:spLocks/>
            </p:cNvSpPr>
            <p:nvPr/>
          </p:nvSpPr>
          <p:spPr bwMode="auto">
            <a:xfrm>
              <a:off x="1647955" y="1194792"/>
              <a:ext cx="916305" cy="370708"/>
            </a:xfrm>
            <a:prstGeom prst="rect">
              <a:avLst/>
            </a:prstGeom>
            <a:solidFill>
              <a:schemeClr val="bg1"/>
            </a:solidFill>
            <a:ln w="9525" algn="ctr">
              <a:noFill/>
              <a:miter lim="800000"/>
              <a:headEnd type="none" w="lg" len="lg"/>
              <a:tailEnd type="none" w="lg" len="lg"/>
            </a:ln>
          </p:spPr>
          <p:txBody>
            <a:bodyPr lIns="0" tIns="0" rIns="0" bIns="0" anchor="ctr"/>
            <a:lstStyle/>
            <a:p>
              <a:pPr algn="ctr" defTabSz="1040767">
                <a:lnSpc>
                  <a:spcPct val="90000"/>
                </a:lnSpc>
              </a:pPr>
              <a:r>
                <a:rPr lang="en-US" sz="900" b="1" noProof="1">
                  <a:solidFill>
                    <a:schemeClr val="tx2"/>
                  </a:solidFill>
                  <a:ea typeface="ヒラギノ角ゴ Pro W3"/>
                  <a:cs typeface="ヒラギノ角ゴ Pro W3"/>
                </a:rPr>
                <a:t>Investors</a:t>
              </a:r>
            </a:p>
          </p:txBody>
        </p:sp>
        <p:grpSp>
          <p:nvGrpSpPr>
            <p:cNvPr id="107" name="Group 100"/>
            <p:cNvGrpSpPr/>
            <p:nvPr/>
          </p:nvGrpSpPr>
          <p:grpSpPr>
            <a:xfrm>
              <a:off x="1818075" y="1609661"/>
              <a:ext cx="576064" cy="576064"/>
              <a:chOff x="1818075" y="1609661"/>
              <a:chExt cx="576064" cy="576064"/>
            </a:xfrm>
          </p:grpSpPr>
          <p:sp>
            <p:nvSpPr>
              <p:cNvPr id="108" name="Rectangle 107"/>
              <p:cNvSpPr/>
              <p:nvPr/>
            </p:nvSpPr>
            <p:spPr>
              <a:xfrm>
                <a:off x="1818075" y="1609661"/>
                <a:ext cx="576064" cy="57606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09" name="Group 48"/>
              <p:cNvGrpSpPr/>
              <p:nvPr/>
            </p:nvGrpSpPr>
            <p:grpSpPr>
              <a:xfrm>
                <a:off x="1900735" y="1769269"/>
                <a:ext cx="410745" cy="256848"/>
                <a:chOff x="9471025" y="3811588"/>
                <a:chExt cx="1241426" cy="776288"/>
              </a:xfrm>
              <a:solidFill>
                <a:schemeClr val="bg1"/>
              </a:solidFill>
            </p:grpSpPr>
            <p:sp>
              <p:nvSpPr>
                <p:cNvPr id="110" name="Oval 8"/>
                <p:cNvSpPr>
                  <a:spLocks noChangeArrowheads="1"/>
                </p:cNvSpPr>
                <p:nvPr/>
              </p:nvSpPr>
              <p:spPr bwMode="auto">
                <a:xfrm>
                  <a:off x="9598025" y="3941763"/>
                  <a:ext cx="265113" cy="333375"/>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111" name="Freeform 9"/>
                <p:cNvSpPr>
                  <a:spLocks/>
                </p:cNvSpPr>
                <p:nvPr/>
              </p:nvSpPr>
              <p:spPr bwMode="auto">
                <a:xfrm>
                  <a:off x="9701213" y="4310063"/>
                  <a:ext cx="58738" cy="198438"/>
                </a:xfrm>
                <a:custGeom>
                  <a:avLst/>
                  <a:gdLst>
                    <a:gd name="T0" fmla="*/ 37 w 37"/>
                    <a:gd name="T1" fmla="*/ 22 h 125"/>
                    <a:gd name="T2" fmla="*/ 18 w 37"/>
                    <a:gd name="T3" fmla="*/ 0 h 125"/>
                    <a:gd name="T4" fmla="*/ 0 w 37"/>
                    <a:gd name="T5" fmla="*/ 22 h 125"/>
                    <a:gd name="T6" fmla="*/ 13 w 37"/>
                    <a:gd name="T7" fmla="*/ 22 h 125"/>
                    <a:gd name="T8" fmla="*/ 0 w 37"/>
                    <a:gd name="T9" fmla="*/ 77 h 125"/>
                    <a:gd name="T10" fmla="*/ 18 w 37"/>
                    <a:gd name="T11" fmla="*/ 125 h 125"/>
                    <a:gd name="T12" fmla="*/ 37 w 37"/>
                    <a:gd name="T13" fmla="*/ 77 h 125"/>
                    <a:gd name="T14" fmla="*/ 23 w 37"/>
                    <a:gd name="T15" fmla="*/ 22 h 125"/>
                    <a:gd name="T16" fmla="*/ 37 w 37"/>
                    <a:gd name="T17" fmla="*/ 2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125">
                      <a:moveTo>
                        <a:pt x="37" y="22"/>
                      </a:moveTo>
                      <a:lnTo>
                        <a:pt x="18" y="0"/>
                      </a:lnTo>
                      <a:lnTo>
                        <a:pt x="0" y="22"/>
                      </a:lnTo>
                      <a:lnTo>
                        <a:pt x="13" y="22"/>
                      </a:lnTo>
                      <a:lnTo>
                        <a:pt x="0" y="77"/>
                      </a:lnTo>
                      <a:lnTo>
                        <a:pt x="18" y="125"/>
                      </a:lnTo>
                      <a:lnTo>
                        <a:pt x="37" y="77"/>
                      </a:lnTo>
                      <a:lnTo>
                        <a:pt x="23" y="22"/>
                      </a:lnTo>
                      <a:lnTo>
                        <a:pt x="37" y="22"/>
                      </a:lnTo>
                      <a:close/>
                    </a:path>
                  </a:pathLst>
                </a:cu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112" name="Oval 10"/>
                <p:cNvSpPr>
                  <a:spLocks noChangeArrowheads="1"/>
                </p:cNvSpPr>
                <p:nvPr/>
              </p:nvSpPr>
              <p:spPr bwMode="auto">
                <a:xfrm>
                  <a:off x="10336213" y="3941763"/>
                  <a:ext cx="265113" cy="333375"/>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113" name="Freeform 11"/>
                <p:cNvSpPr>
                  <a:spLocks/>
                </p:cNvSpPr>
                <p:nvPr/>
              </p:nvSpPr>
              <p:spPr bwMode="auto">
                <a:xfrm>
                  <a:off x="10439400" y="4310063"/>
                  <a:ext cx="58738" cy="198438"/>
                </a:xfrm>
                <a:custGeom>
                  <a:avLst/>
                  <a:gdLst>
                    <a:gd name="T0" fmla="*/ 37 w 37"/>
                    <a:gd name="T1" fmla="*/ 22 h 125"/>
                    <a:gd name="T2" fmla="*/ 19 w 37"/>
                    <a:gd name="T3" fmla="*/ 0 h 125"/>
                    <a:gd name="T4" fmla="*/ 0 w 37"/>
                    <a:gd name="T5" fmla="*/ 22 h 125"/>
                    <a:gd name="T6" fmla="*/ 14 w 37"/>
                    <a:gd name="T7" fmla="*/ 22 h 125"/>
                    <a:gd name="T8" fmla="*/ 0 w 37"/>
                    <a:gd name="T9" fmla="*/ 77 h 125"/>
                    <a:gd name="T10" fmla="*/ 19 w 37"/>
                    <a:gd name="T11" fmla="*/ 125 h 125"/>
                    <a:gd name="T12" fmla="*/ 37 w 37"/>
                    <a:gd name="T13" fmla="*/ 77 h 125"/>
                    <a:gd name="T14" fmla="*/ 24 w 37"/>
                    <a:gd name="T15" fmla="*/ 22 h 125"/>
                    <a:gd name="T16" fmla="*/ 37 w 37"/>
                    <a:gd name="T17" fmla="*/ 2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125">
                      <a:moveTo>
                        <a:pt x="37" y="22"/>
                      </a:moveTo>
                      <a:lnTo>
                        <a:pt x="19" y="0"/>
                      </a:lnTo>
                      <a:lnTo>
                        <a:pt x="0" y="22"/>
                      </a:lnTo>
                      <a:lnTo>
                        <a:pt x="14" y="22"/>
                      </a:lnTo>
                      <a:lnTo>
                        <a:pt x="0" y="77"/>
                      </a:lnTo>
                      <a:lnTo>
                        <a:pt x="19" y="125"/>
                      </a:lnTo>
                      <a:lnTo>
                        <a:pt x="37" y="77"/>
                      </a:lnTo>
                      <a:lnTo>
                        <a:pt x="24" y="22"/>
                      </a:lnTo>
                      <a:lnTo>
                        <a:pt x="37" y="22"/>
                      </a:lnTo>
                      <a:close/>
                    </a:path>
                  </a:pathLst>
                </a:cu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114" name="Oval 51"/>
                <p:cNvSpPr>
                  <a:spLocks noChangeArrowheads="1"/>
                </p:cNvSpPr>
                <p:nvPr/>
              </p:nvSpPr>
              <p:spPr bwMode="auto">
                <a:xfrm>
                  <a:off x="9939338" y="3811588"/>
                  <a:ext cx="317500" cy="400050"/>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115" name="Freeform 52"/>
                <p:cNvSpPr>
                  <a:spLocks/>
                </p:cNvSpPr>
                <p:nvPr/>
              </p:nvSpPr>
              <p:spPr bwMode="auto">
                <a:xfrm>
                  <a:off x="10063163" y="4254501"/>
                  <a:ext cx="71438" cy="238125"/>
                </a:xfrm>
                <a:custGeom>
                  <a:avLst/>
                  <a:gdLst>
                    <a:gd name="T0" fmla="*/ 45 w 45"/>
                    <a:gd name="T1" fmla="*/ 27 h 150"/>
                    <a:gd name="T2" fmla="*/ 22 w 45"/>
                    <a:gd name="T3" fmla="*/ 0 h 150"/>
                    <a:gd name="T4" fmla="*/ 0 w 45"/>
                    <a:gd name="T5" fmla="*/ 27 h 150"/>
                    <a:gd name="T6" fmla="*/ 17 w 45"/>
                    <a:gd name="T7" fmla="*/ 27 h 150"/>
                    <a:gd name="T8" fmla="*/ 0 w 45"/>
                    <a:gd name="T9" fmla="*/ 93 h 150"/>
                    <a:gd name="T10" fmla="*/ 22 w 45"/>
                    <a:gd name="T11" fmla="*/ 150 h 150"/>
                    <a:gd name="T12" fmla="*/ 45 w 45"/>
                    <a:gd name="T13" fmla="*/ 93 h 150"/>
                    <a:gd name="T14" fmla="*/ 29 w 45"/>
                    <a:gd name="T15" fmla="*/ 27 h 150"/>
                    <a:gd name="T16" fmla="*/ 45 w 45"/>
                    <a:gd name="T17" fmla="*/ 27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150">
                      <a:moveTo>
                        <a:pt x="45" y="27"/>
                      </a:moveTo>
                      <a:lnTo>
                        <a:pt x="22" y="0"/>
                      </a:lnTo>
                      <a:lnTo>
                        <a:pt x="0" y="27"/>
                      </a:lnTo>
                      <a:lnTo>
                        <a:pt x="17" y="27"/>
                      </a:lnTo>
                      <a:lnTo>
                        <a:pt x="0" y="93"/>
                      </a:lnTo>
                      <a:lnTo>
                        <a:pt x="22" y="150"/>
                      </a:lnTo>
                      <a:lnTo>
                        <a:pt x="45" y="93"/>
                      </a:lnTo>
                      <a:lnTo>
                        <a:pt x="29" y="27"/>
                      </a:lnTo>
                      <a:lnTo>
                        <a:pt x="45" y="27"/>
                      </a:lnTo>
                      <a:close/>
                    </a:path>
                  </a:pathLst>
                </a:cu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116" name="Freeform 53"/>
                <p:cNvSpPr>
                  <a:spLocks/>
                </p:cNvSpPr>
                <p:nvPr/>
              </p:nvSpPr>
              <p:spPr bwMode="auto">
                <a:xfrm>
                  <a:off x="10421938" y="4294188"/>
                  <a:ext cx="290513" cy="293688"/>
                </a:xfrm>
                <a:custGeom>
                  <a:avLst/>
                  <a:gdLst>
                    <a:gd name="T0" fmla="*/ 80 w 110"/>
                    <a:gd name="T1" fmla="*/ 0 h 111"/>
                    <a:gd name="T2" fmla="*/ 63 w 110"/>
                    <a:gd name="T3" fmla="*/ 0 h 111"/>
                    <a:gd name="T4" fmla="*/ 18 w 110"/>
                    <a:gd name="T5" fmla="*/ 109 h 111"/>
                    <a:gd name="T6" fmla="*/ 0 w 110"/>
                    <a:gd name="T7" fmla="*/ 66 h 111"/>
                    <a:gd name="T8" fmla="*/ 0 w 110"/>
                    <a:gd name="T9" fmla="*/ 111 h 111"/>
                    <a:gd name="T10" fmla="*/ 110 w 110"/>
                    <a:gd name="T11" fmla="*/ 111 h 111"/>
                    <a:gd name="T12" fmla="*/ 110 w 110"/>
                    <a:gd name="T13" fmla="*/ 30 h 111"/>
                    <a:gd name="T14" fmla="*/ 80 w 110"/>
                    <a:gd name="T15" fmla="*/ 0 h 1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111">
                      <a:moveTo>
                        <a:pt x="80" y="0"/>
                      </a:moveTo>
                      <a:cubicBezTo>
                        <a:pt x="63" y="0"/>
                        <a:pt x="63" y="0"/>
                        <a:pt x="63" y="0"/>
                      </a:cubicBezTo>
                      <a:cubicBezTo>
                        <a:pt x="18" y="109"/>
                        <a:pt x="18" y="109"/>
                        <a:pt x="18" y="109"/>
                      </a:cubicBezTo>
                      <a:cubicBezTo>
                        <a:pt x="0" y="66"/>
                        <a:pt x="0" y="66"/>
                        <a:pt x="0" y="66"/>
                      </a:cubicBezTo>
                      <a:cubicBezTo>
                        <a:pt x="0" y="111"/>
                        <a:pt x="0" y="111"/>
                        <a:pt x="0" y="111"/>
                      </a:cubicBezTo>
                      <a:cubicBezTo>
                        <a:pt x="110" y="111"/>
                        <a:pt x="110" y="111"/>
                        <a:pt x="110" y="111"/>
                      </a:cubicBezTo>
                      <a:cubicBezTo>
                        <a:pt x="110" y="30"/>
                        <a:pt x="110" y="30"/>
                        <a:pt x="110" y="30"/>
                      </a:cubicBezTo>
                      <a:cubicBezTo>
                        <a:pt x="110" y="13"/>
                        <a:pt x="97" y="0"/>
                        <a:pt x="8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117" name="Freeform 54"/>
                <p:cNvSpPr>
                  <a:spLocks/>
                </p:cNvSpPr>
                <p:nvPr/>
              </p:nvSpPr>
              <p:spPr bwMode="auto">
                <a:xfrm>
                  <a:off x="9471025" y="4294188"/>
                  <a:ext cx="288925" cy="293688"/>
                </a:xfrm>
                <a:custGeom>
                  <a:avLst/>
                  <a:gdLst>
                    <a:gd name="T0" fmla="*/ 109 w 109"/>
                    <a:gd name="T1" fmla="*/ 83 h 111"/>
                    <a:gd name="T2" fmla="*/ 98 w 109"/>
                    <a:gd name="T3" fmla="*/ 109 h 111"/>
                    <a:gd name="T4" fmla="*/ 53 w 109"/>
                    <a:gd name="T5" fmla="*/ 0 h 111"/>
                    <a:gd name="T6" fmla="*/ 30 w 109"/>
                    <a:gd name="T7" fmla="*/ 0 h 111"/>
                    <a:gd name="T8" fmla="*/ 0 w 109"/>
                    <a:gd name="T9" fmla="*/ 30 h 111"/>
                    <a:gd name="T10" fmla="*/ 0 w 109"/>
                    <a:gd name="T11" fmla="*/ 111 h 111"/>
                    <a:gd name="T12" fmla="*/ 109 w 109"/>
                    <a:gd name="T13" fmla="*/ 111 h 111"/>
                    <a:gd name="T14" fmla="*/ 109 w 109"/>
                    <a:gd name="T15" fmla="*/ 83 h 1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 h="111">
                      <a:moveTo>
                        <a:pt x="109" y="83"/>
                      </a:moveTo>
                      <a:cubicBezTo>
                        <a:pt x="98" y="109"/>
                        <a:pt x="98" y="109"/>
                        <a:pt x="98" y="109"/>
                      </a:cubicBezTo>
                      <a:cubicBezTo>
                        <a:pt x="53" y="0"/>
                        <a:pt x="53" y="0"/>
                        <a:pt x="53" y="0"/>
                      </a:cubicBezTo>
                      <a:cubicBezTo>
                        <a:pt x="30" y="0"/>
                        <a:pt x="30" y="0"/>
                        <a:pt x="30" y="0"/>
                      </a:cubicBezTo>
                      <a:cubicBezTo>
                        <a:pt x="14" y="0"/>
                        <a:pt x="0" y="13"/>
                        <a:pt x="0" y="30"/>
                      </a:cubicBezTo>
                      <a:cubicBezTo>
                        <a:pt x="0" y="111"/>
                        <a:pt x="0" y="111"/>
                        <a:pt x="0" y="111"/>
                      </a:cubicBezTo>
                      <a:cubicBezTo>
                        <a:pt x="109" y="111"/>
                        <a:pt x="109" y="111"/>
                        <a:pt x="109" y="111"/>
                      </a:cubicBezTo>
                      <a:lnTo>
                        <a:pt x="109" y="83"/>
                      </a:lnTo>
                      <a:close/>
                    </a:path>
                  </a:pathLst>
                </a:cu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118" name="Freeform 55"/>
                <p:cNvSpPr>
                  <a:spLocks noEditPoints="1"/>
                </p:cNvSpPr>
                <p:nvPr/>
              </p:nvSpPr>
              <p:spPr bwMode="auto">
                <a:xfrm>
                  <a:off x="9788525" y="4233863"/>
                  <a:ext cx="603250" cy="354013"/>
                </a:xfrm>
                <a:custGeom>
                  <a:avLst/>
                  <a:gdLst>
                    <a:gd name="T0" fmla="*/ 192 w 228"/>
                    <a:gd name="T1" fmla="*/ 0 h 134"/>
                    <a:gd name="T2" fmla="*/ 162 w 228"/>
                    <a:gd name="T3" fmla="*/ 0 h 134"/>
                    <a:gd name="T4" fmla="*/ 142 w 228"/>
                    <a:gd name="T5" fmla="*/ 20 h 134"/>
                    <a:gd name="T6" fmla="*/ 152 w 228"/>
                    <a:gd name="T7" fmla="*/ 35 h 134"/>
                    <a:gd name="T8" fmla="*/ 142 w 228"/>
                    <a:gd name="T9" fmla="*/ 46 h 134"/>
                    <a:gd name="T10" fmla="*/ 154 w 228"/>
                    <a:gd name="T11" fmla="*/ 57 h 134"/>
                    <a:gd name="T12" fmla="*/ 117 w 228"/>
                    <a:gd name="T13" fmla="*/ 131 h 134"/>
                    <a:gd name="T14" fmla="*/ 79 w 228"/>
                    <a:gd name="T15" fmla="*/ 54 h 134"/>
                    <a:gd name="T16" fmla="*/ 89 w 228"/>
                    <a:gd name="T17" fmla="*/ 43 h 134"/>
                    <a:gd name="T18" fmla="*/ 78 w 228"/>
                    <a:gd name="T19" fmla="*/ 32 h 134"/>
                    <a:gd name="T20" fmla="*/ 89 w 228"/>
                    <a:gd name="T21" fmla="*/ 19 h 134"/>
                    <a:gd name="T22" fmla="*/ 70 w 228"/>
                    <a:gd name="T23" fmla="*/ 0 h 134"/>
                    <a:gd name="T24" fmla="*/ 36 w 228"/>
                    <a:gd name="T25" fmla="*/ 0 h 134"/>
                    <a:gd name="T26" fmla="*/ 0 w 228"/>
                    <a:gd name="T27" fmla="*/ 36 h 134"/>
                    <a:gd name="T28" fmla="*/ 0 w 228"/>
                    <a:gd name="T29" fmla="*/ 134 h 134"/>
                    <a:gd name="T30" fmla="*/ 228 w 228"/>
                    <a:gd name="T31" fmla="*/ 134 h 134"/>
                    <a:gd name="T32" fmla="*/ 228 w 228"/>
                    <a:gd name="T33" fmla="*/ 36 h 134"/>
                    <a:gd name="T34" fmla="*/ 192 w 228"/>
                    <a:gd name="T35" fmla="*/ 0 h 134"/>
                    <a:gd name="T36" fmla="*/ 214 w 228"/>
                    <a:gd name="T37" fmla="*/ 56 h 134"/>
                    <a:gd name="T38" fmla="*/ 170 w 228"/>
                    <a:gd name="T39" fmla="*/ 56 h 134"/>
                    <a:gd name="T40" fmla="*/ 170 w 228"/>
                    <a:gd name="T41" fmla="*/ 43 h 134"/>
                    <a:gd name="T42" fmla="*/ 214 w 228"/>
                    <a:gd name="T43" fmla="*/ 43 h 134"/>
                    <a:gd name="T44" fmla="*/ 214 w 228"/>
                    <a:gd name="T45" fmla="*/ 5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8" h="134">
                      <a:moveTo>
                        <a:pt x="192" y="0"/>
                      </a:moveTo>
                      <a:cubicBezTo>
                        <a:pt x="162" y="0"/>
                        <a:pt x="162" y="0"/>
                        <a:pt x="162" y="0"/>
                      </a:cubicBezTo>
                      <a:cubicBezTo>
                        <a:pt x="142" y="20"/>
                        <a:pt x="142" y="20"/>
                        <a:pt x="142" y="20"/>
                      </a:cubicBezTo>
                      <a:cubicBezTo>
                        <a:pt x="152" y="35"/>
                        <a:pt x="152" y="35"/>
                        <a:pt x="152" y="35"/>
                      </a:cubicBezTo>
                      <a:cubicBezTo>
                        <a:pt x="142" y="46"/>
                        <a:pt x="142" y="46"/>
                        <a:pt x="142" y="46"/>
                      </a:cubicBezTo>
                      <a:cubicBezTo>
                        <a:pt x="154" y="57"/>
                        <a:pt x="154" y="57"/>
                        <a:pt x="154" y="57"/>
                      </a:cubicBezTo>
                      <a:cubicBezTo>
                        <a:pt x="117" y="131"/>
                        <a:pt x="117" y="131"/>
                        <a:pt x="117" y="131"/>
                      </a:cubicBezTo>
                      <a:cubicBezTo>
                        <a:pt x="79" y="54"/>
                        <a:pt x="79" y="54"/>
                        <a:pt x="79" y="54"/>
                      </a:cubicBezTo>
                      <a:cubicBezTo>
                        <a:pt x="89" y="43"/>
                        <a:pt x="89" y="43"/>
                        <a:pt x="89" y="43"/>
                      </a:cubicBezTo>
                      <a:cubicBezTo>
                        <a:pt x="78" y="32"/>
                        <a:pt x="78" y="32"/>
                        <a:pt x="78" y="32"/>
                      </a:cubicBezTo>
                      <a:cubicBezTo>
                        <a:pt x="89" y="19"/>
                        <a:pt x="89" y="19"/>
                        <a:pt x="89" y="19"/>
                      </a:cubicBezTo>
                      <a:cubicBezTo>
                        <a:pt x="70" y="0"/>
                        <a:pt x="70" y="0"/>
                        <a:pt x="70" y="0"/>
                      </a:cubicBezTo>
                      <a:cubicBezTo>
                        <a:pt x="36" y="0"/>
                        <a:pt x="36" y="0"/>
                        <a:pt x="36" y="0"/>
                      </a:cubicBezTo>
                      <a:cubicBezTo>
                        <a:pt x="16" y="0"/>
                        <a:pt x="0" y="16"/>
                        <a:pt x="0" y="36"/>
                      </a:cubicBezTo>
                      <a:cubicBezTo>
                        <a:pt x="0" y="134"/>
                        <a:pt x="0" y="134"/>
                        <a:pt x="0" y="134"/>
                      </a:cubicBezTo>
                      <a:cubicBezTo>
                        <a:pt x="228" y="134"/>
                        <a:pt x="228" y="134"/>
                        <a:pt x="228" y="134"/>
                      </a:cubicBezTo>
                      <a:cubicBezTo>
                        <a:pt x="228" y="36"/>
                        <a:pt x="228" y="36"/>
                        <a:pt x="228" y="36"/>
                      </a:cubicBezTo>
                      <a:cubicBezTo>
                        <a:pt x="228" y="16"/>
                        <a:pt x="212" y="0"/>
                        <a:pt x="192" y="0"/>
                      </a:cubicBezTo>
                      <a:close/>
                      <a:moveTo>
                        <a:pt x="214" y="56"/>
                      </a:moveTo>
                      <a:cubicBezTo>
                        <a:pt x="170" y="56"/>
                        <a:pt x="170" y="56"/>
                        <a:pt x="170" y="56"/>
                      </a:cubicBezTo>
                      <a:cubicBezTo>
                        <a:pt x="170" y="43"/>
                        <a:pt x="170" y="43"/>
                        <a:pt x="170" y="43"/>
                      </a:cubicBezTo>
                      <a:cubicBezTo>
                        <a:pt x="214" y="43"/>
                        <a:pt x="214" y="43"/>
                        <a:pt x="214" y="43"/>
                      </a:cubicBezTo>
                      <a:lnTo>
                        <a:pt x="214" y="56"/>
                      </a:lnTo>
                      <a:close/>
                    </a:path>
                  </a:pathLst>
                </a:custGeom>
                <a:grpFill/>
                <a:ln>
                  <a:noFill/>
                </a:ln>
              </p:spPr>
              <p:txBody>
                <a:bodyPr vert="horz" wrap="square" lIns="91440" tIns="45720" rIns="91440" bIns="45720" numCol="1" anchor="t" anchorCtr="0" compatLnSpc="1">
                  <a:prstTxWarp prst="textNoShape">
                    <a:avLst/>
                  </a:prstTxWarp>
                </a:bodyPr>
                <a:lstStyle/>
                <a:p>
                  <a:endParaRPr lang="en-US" sz="900" noProof="1"/>
                </a:p>
              </p:txBody>
            </p:sp>
          </p:grpSp>
        </p:grpSp>
      </p:grpSp>
      <p:grpSp>
        <p:nvGrpSpPr>
          <p:cNvPr id="119" name="Group 122"/>
          <p:cNvGrpSpPr/>
          <p:nvPr/>
        </p:nvGrpSpPr>
        <p:grpSpPr>
          <a:xfrm>
            <a:off x="1600715" y="1531472"/>
            <a:ext cx="916305" cy="990933"/>
            <a:chOff x="1647955" y="1194792"/>
            <a:chExt cx="916305" cy="990933"/>
          </a:xfrm>
        </p:grpSpPr>
        <p:sp>
          <p:nvSpPr>
            <p:cNvPr id="120" name="Freeform 7"/>
            <p:cNvSpPr>
              <a:spLocks/>
            </p:cNvSpPr>
            <p:nvPr/>
          </p:nvSpPr>
          <p:spPr bwMode="auto">
            <a:xfrm>
              <a:off x="1647955" y="1194792"/>
              <a:ext cx="916305" cy="370708"/>
            </a:xfrm>
            <a:prstGeom prst="rect">
              <a:avLst/>
            </a:prstGeom>
            <a:solidFill>
              <a:schemeClr val="bg1"/>
            </a:solidFill>
            <a:ln w="9525" algn="ctr">
              <a:noFill/>
              <a:miter lim="800000"/>
              <a:headEnd type="none" w="lg" len="lg"/>
              <a:tailEnd type="none" w="lg" len="lg"/>
            </a:ln>
          </p:spPr>
          <p:txBody>
            <a:bodyPr lIns="0" tIns="0" rIns="0" bIns="0" anchor="ctr"/>
            <a:lstStyle/>
            <a:p>
              <a:pPr algn="ctr" defTabSz="1040767">
                <a:lnSpc>
                  <a:spcPct val="90000"/>
                </a:lnSpc>
              </a:pPr>
              <a:r>
                <a:rPr lang="en-US" sz="900" b="1" noProof="1">
                  <a:solidFill>
                    <a:schemeClr val="tx2"/>
                  </a:solidFill>
                  <a:ea typeface="ヒラギノ角ゴ Pro W3"/>
                  <a:cs typeface="ヒラギノ角ゴ Pro W3"/>
                </a:rPr>
                <a:t>Investors</a:t>
              </a:r>
            </a:p>
          </p:txBody>
        </p:sp>
        <p:grpSp>
          <p:nvGrpSpPr>
            <p:cNvPr id="121" name="Group 100"/>
            <p:cNvGrpSpPr/>
            <p:nvPr/>
          </p:nvGrpSpPr>
          <p:grpSpPr>
            <a:xfrm>
              <a:off x="1818075" y="1609661"/>
              <a:ext cx="576064" cy="576064"/>
              <a:chOff x="1818075" y="1609661"/>
              <a:chExt cx="576064" cy="576064"/>
            </a:xfrm>
          </p:grpSpPr>
          <p:sp>
            <p:nvSpPr>
              <p:cNvPr id="122" name="Rectangle 121"/>
              <p:cNvSpPr/>
              <p:nvPr/>
            </p:nvSpPr>
            <p:spPr>
              <a:xfrm>
                <a:off x="1818075" y="1609661"/>
                <a:ext cx="576064" cy="57606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23" name="Group 48"/>
              <p:cNvGrpSpPr/>
              <p:nvPr/>
            </p:nvGrpSpPr>
            <p:grpSpPr>
              <a:xfrm>
                <a:off x="1900735" y="1769269"/>
                <a:ext cx="410745" cy="256848"/>
                <a:chOff x="9471025" y="3811588"/>
                <a:chExt cx="1241426" cy="776288"/>
              </a:xfrm>
              <a:solidFill>
                <a:schemeClr val="bg1"/>
              </a:solidFill>
            </p:grpSpPr>
            <p:sp>
              <p:nvSpPr>
                <p:cNvPr id="124" name="Oval 8"/>
                <p:cNvSpPr>
                  <a:spLocks noChangeArrowheads="1"/>
                </p:cNvSpPr>
                <p:nvPr/>
              </p:nvSpPr>
              <p:spPr bwMode="auto">
                <a:xfrm>
                  <a:off x="9598025" y="3941763"/>
                  <a:ext cx="265113" cy="333375"/>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125" name="Freeform 9"/>
                <p:cNvSpPr>
                  <a:spLocks/>
                </p:cNvSpPr>
                <p:nvPr/>
              </p:nvSpPr>
              <p:spPr bwMode="auto">
                <a:xfrm>
                  <a:off x="9701213" y="4310063"/>
                  <a:ext cx="58738" cy="198438"/>
                </a:xfrm>
                <a:custGeom>
                  <a:avLst/>
                  <a:gdLst>
                    <a:gd name="T0" fmla="*/ 37 w 37"/>
                    <a:gd name="T1" fmla="*/ 22 h 125"/>
                    <a:gd name="T2" fmla="*/ 18 w 37"/>
                    <a:gd name="T3" fmla="*/ 0 h 125"/>
                    <a:gd name="T4" fmla="*/ 0 w 37"/>
                    <a:gd name="T5" fmla="*/ 22 h 125"/>
                    <a:gd name="T6" fmla="*/ 13 w 37"/>
                    <a:gd name="T7" fmla="*/ 22 h 125"/>
                    <a:gd name="T8" fmla="*/ 0 w 37"/>
                    <a:gd name="T9" fmla="*/ 77 h 125"/>
                    <a:gd name="T10" fmla="*/ 18 w 37"/>
                    <a:gd name="T11" fmla="*/ 125 h 125"/>
                    <a:gd name="T12" fmla="*/ 37 w 37"/>
                    <a:gd name="T13" fmla="*/ 77 h 125"/>
                    <a:gd name="T14" fmla="*/ 23 w 37"/>
                    <a:gd name="T15" fmla="*/ 22 h 125"/>
                    <a:gd name="T16" fmla="*/ 37 w 37"/>
                    <a:gd name="T17" fmla="*/ 2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125">
                      <a:moveTo>
                        <a:pt x="37" y="22"/>
                      </a:moveTo>
                      <a:lnTo>
                        <a:pt x="18" y="0"/>
                      </a:lnTo>
                      <a:lnTo>
                        <a:pt x="0" y="22"/>
                      </a:lnTo>
                      <a:lnTo>
                        <a:pt x="13" y="22"/>
                      </a:lnTo>
                      <a:lnTo>
                        <a:pt x="0" y="77"/>
                      </a:lnTo>
                      <a:lnTo>
                        <a:pt x="18" y="125"/>
                      </a:lnTo>
                      <a:lnTo>
                        <a:pt x="37" y="77"/>
                      </a:lnTo>
                      <a:lnTo>
                        <a:pt x="23" y="22"/>
                      </a:lnTo>
                      <a:lnTo>
                        <a:pt x="37" y="22"/>
                      </a:lnTo>
                      <a:close/>
                    </a:path>
                  </a:pathLst>
                </a:cu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126" name="Oval 10"/>
                <p:cNvSpPr>
                  <a:spLocks noChangeArrowheads="1"/>
                </p:cNvSpPr>
                <p:nvPr/>
              </p:nvSpPr>
              <p:spPr bwMode="auto">
                <a:xfrm>
                  <a:off x="10336213" y="3941763"/>
                  <a:ext cx="265113" cy="333375"/>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127" name="Freeform 11"/>
                <p:cNvSpPr>
                  <a:spLocks/>
                </p:cNvSpPr>
                <p:nvPr/>
              </p:nvSpPr>
              <p:spPr bwMode="auto">
                <a:xfrm>
                  <a:off x="10439400" y="4310063"/>
                  <a:ext cx="58738" cy="198438"/>
                </a:xfrm>
                <a:custGeom>
                  <a:avLst/>
                  <a:gdLst>
                    <a:gd name="T0" fmla="*/ 37 w 37"/>
                    <a:gd name="T1" fmla="*/ 22 h 125"/>
                    <a:gd name="T2" fmla="*/ 19 w 37"/>
                    <a:gd name="T3" fmla="*/ 0 h 125"/>
                    <a:gd name="T4" fmla="*/ 0 w 37"/>
                    <a:gd name="T5" fmla="*/ 22 h 125"/>
                    <a:gd name="T6" fmla="*/ 14 w 37"/>
                    <a:gd name="T7" fmla="*/ 22 h 125"/>
                    <a:gd name="T8" fmla="*/ 0 w 37"/>
                    <a:gd name="T9" fmla="*/ 77 h 125"/>
                    <a:gd name="T10" fmla="*/ 19 w 37"/>
                    <a:gd name="T11" fmla="*/ 125 h 125"/>
                    <a:gd name="T12" fmla="*/ 37 w 37"/>
                    <a:gd name="T13" fmla="*/ 77 h 125"/>
                    <a:gd name="T14" fmla="*/ 24 w 37"/>
                    <a:gd name="T15" fmla="*/ 22 h 125"/>
                    <a:gd name="T16" fmla="*/ 37 w 37"/>
                    <a:gd name="T17" fmla="*/ 2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125">
                      <a:moveTo>
                        <a:pt x="37" y="22"/>
                      </a:moveTo>
                      <a:lnTo>
                        <a:pt x="19" y="0"/>
                      </a:lnTo>
                      <a:lnTo>
                        <a:pt x="0" y="22"/>
                      </a:lnTo>
                      <a:lnTo>
                        <a:pt x="14" y="22"/>
                      </a:lnTo>
                      <a:lnTo>
                        <a:pt x="0" y="77"/>
                      </a:lnTo>
                      <a:lnTo>
                        <a:pt x="19" y="125"/>
                      </a:lnTo>
                      <a:lnTo>
                        <a:pt x="37" y="77"/>
                      </a:lnTo>
                      <a:lnTo>
                        <a:pt x="24" y="22"/>
                      </a:lnTo>
                      <a:lnTo>
                        <a:pt x="37" y="22"/>
                      </a:lnTo>
                      <a:close/>
                    </a:path>
                  </a:pathLst>
                </a:cu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128" name="Oval 51"/>
                <p:cNvSpPr>
                  <a:spLocks noChangeArrowheads="1"/>
                </p:cNvSpPr>
                <p:nvPr/>
              </p:nvSpPr>
              <p:spPr bwMode="auto">
                <a:xfrm>
                  <a:off x="9939338" y="3811588"/>
                  <a:ext cx="317500" cy="400050"/>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129" name="Freeform 52"/>
                <p:cNvSpPr>
                  <a:spLocks/>
                </p:cNvSpPr>
                <p:nvPr/>
              </p:nvSpPr>
              <p:spPr bwMode="auto">
                <a:xfrm>
                  <a:off x="10063163" y="4254501"/>
                  <a:ext cx="71438" cy="238125"/>
                </a:xfrm>
                <a:custGeom>
                  <a:avLst/>
                  <a:gdLst>
                    <a:gd name="T0" fmla="*/ 45 w 45"/>
                    <a:gd name="T1" fmla="*/ 27 h 150"/>
                    <a:gd name="T2" fmla="*/ 22 w 45"/>
                    <a:gd name="T3" fmla="*/ 0 h 150"/>
                    <a:gd name="T4" fmla="*/ 0 w 45"/>
                    <a:gd name="T5" fmla="*/ 27 h 150"/>
                    <a:gd name="T6" fmla="*/ 17 w 45"/>
                    <a:gd name="T7" fmla="*/ 27 h 150"/>
                    <a:gd name="T8" fmla="*/ 0 w 45"/>
                    <a:gd name="T9" fmla="*/ 93 h 150"/>
                    <a:gd name="T10" fmla="*/ 22 w 45"/>
                    <a:gd name="T11" fmla="*/ 150 h 150"/>
                    <a:gd name="T12" fmla="*/ 45 w 45"/>
                    <a:gd name="T13" fmla="*/ 93 h 150"/>
                    <a:gd name="T14" fmla="*/ 29 w 45"/>
                    <a:gd name="T15" fmla="*/ 27 h 150"/>
                    <a:gd name="T16" fmla="*/ 45 w 45"/>
                    <a:gd name="T17" fmla="*/ 27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150">
                      <a:moveTo>
                        <a:pt x="45" y="27"/>
                      </a:moveTo>
                      <a:lnTo>
                        <a:pt x="22" y="0"/>
                      </a:lnTo>
                      <a:lnTo>
                        <a:pt x="0" y="27"/>
                      </a:lnTo>
                      <a:lnTo>
                        <a:pt x="17" y="27"/>
                      </a:lnTo>
                      <a:lnTo>
                        <a:pt x="0" y="93"/>
                      </a:lnTo>
                      <a:lnTo>
                        <a:pt x="22" y="150"/>
                      </a:lnTo>
                      <a:lnTo>
                        <a:pt x="45" y="93"/>
                      </a:lnTo>
                      <a:lnTo>
                        <a:pt x="29" y="27"/>
                      </a:lnTo>
                      <a:lnTo>
                        <a:pt x="45" y="27"/>
                      </a:lnTo>
                      <a:close/>
                    </a:path>
                  </a:pathLst>
                </a:cu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130" name="Freeform 53"/>
                <p:cNvSpPr>
                  <a:spLocks/>
                </p:cNvSpPr>
                <p:nvPr/>
              </p:nvSpPr>
              <p:spPr bwMode="auto">
                <a:xfrm>
                  <a:off x="10421938" y="4294188"/>
                  <a:ext cx="290513" cy="293688"/>
                </a:xfrm>
                <a:custGeom>
                  <a:avLst/>
                  <a:gdLst>
                    <a:gd name="T0" fmla="*/ 80 w 110"/>
                    <a:gd name="T1" fmla="*/ 0 h 111"/>
                    <a:gd name="T2" fmla="*/ 63 w 110"/>
                    <a:gd name="T3" fmla="*/ 0 h 111"/>
                    <a:gd name="T4" fmla="*/ 18 w 110"/>
                    <a:gd name="T5" fmla="*/ 109 h 111"/>
                    <a:gd name="T6" fmla="*/ 0 w 110"/>
                    <a:gd name="T7" fmla="*/ 66 h 111"/>
                    <a:gd name="T8" fmla="*/ 0 w 110"/>
                    <a:gd name="T9" fmla="*/ 111 h 111"/>
                    <a:gd name="T10" fmla="*/ 110 w 110"/>
                    <a:gd name="T11" fmla="*/ 111 h 111"/>
                    <a:gd name="T12" fmla="*/ 110 w 110"/>
                    <a:gd name="T13" fmla="*/ 30 h 111"/>
                    <a:gd name="T14" fmla="*/ 80 w 110"/>
                    <a:gd name="T15" fmla="*/ 0 h 1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111">
                      <a:moveTo>
                        <a:pt x="80" y="0"/>
                      </a:moveTo>
                      <a:cubicBezTo>
                        <a:pt x="63" y="0"/>
                        <a:pt x="63" y="0"/>
                        <a:pt x="63" y="0"/>
                      </a:cubicBezTo>
                      <a:cubicBezTo>
                        <a:pt x="18" y="109"/>
                        <a:pt x="18" y="109"/>
                        <a:pt x="18" y="109"/>
                      </a:cubicBezTo>
                      <a:cubicBezTo>
                        <a:pt x="0" y="66"/>
                        <a:pt x="0" y="66"/>
                        <a:pt x="0" y="66"/>
                      </a:cubicBezTo>
                      <a:cubicBezTo>
                        <a:pt x="0" y="111"/>
                        <a:pt x="0" y="111"/>
                        <a:pt x="0" y="111"/>
                      </a:cubicBezTo>
                      <a:cubicBezTo>
                        <a:pt x="110" y="111"/>
                        <a:pt x="110" y="111"/>
                        <a:pt x="110" y="111"/>
                      </a:cubicBezTo>
                      <a:cubicBezTo>
                        <a:pt x="110" y="30"/>
                        <a:pt x="110" y="30"/>
                        <a:pt x="110" y="30"/>
                      </a:cubicBezTo>
                      <a:cubicBezTo>
                        <a:pt x="110" y="13"/>
                        <a:pt x="97" y="0"/>
                        <a:pt x="8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131" name="Freeform 54"/>
                <p:cNvSpPr>
                  <a:spLocks/>
                </p:cNvSpPr>
                <p:nvPr/>
              </p:nvSpPr>
              <p:spPr bwMode="auto">
                <a:xfrm>
                  <a:off x="9471025" y="4294188"/>
                  <a:ext cx="288925" cy="293688"/>
                </a:xfrm>
                <a:custGeom>
                  <a:avLst/>
                  <a:gdLst>
                    <a:gd name="T0" fmla="*/ 109 w 109"/>
                    <a:gd name="T1" fmla="*/ 83 h 111"/>
                    <a:gd name="T2" fmla="*/ 98 w 109"/>
                    <a:gd name="T3" fmla="*/ 109 h 111"/>
                    <a:gd name="T4" fmla="*/ 53 w 109"/>
                    <a:gd name="T5" fmla="*/ 0 h 111"/>
                    <a:gd name="T6" fmla="*/ 30 w 109"/>
                    <a:gd name="T7" fmla="*/ 0 h 111"/>
                    <a:gd name="T8" fmla="*/ 0 w 109"/>
                    <a:gd name="T9" fmla="*/ 30 h 111"/>
                    <a:gd name="T10" fmla="*/ 0 w 109"/>
                    <a:gd name="T11" fmla="*/ 111 h 111"/>
                    <a:gd name="T12" fmla="*/ 109 w 109"/>
                    <a:gd name="T13" fmla="*/ 111 h 111"/>
                    <a:gd name="T14" fmla="*/ 109 w 109"/>
                    <a:gd name="T15" fmla="*/ 83 h 1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 h="111">
                      <a:moveTo>
                        <a:pt x="109" y="83"/>
                      </a:moveTo>
                      <a:cubicBezTo>
                        <a:pt x="98" y="109"/>
                        <a:pt x="98" y="109"/>
                        <a:pt x="98" y="109"/>
                      </a:cubicBezTo>
                      <a:cubicBezTo>
                        <a:pt x="53" y="0"/>
                        <a:pt x="53" y="0"/>
                        <a:pt x="53" y="0"/>
                      </a:cubicBezTo>
                      <a:cubicBezTo>
                        <a:pt x="30" y="0"/>
                        <a:pt x="30" y="0"/>
                        <a:pt x="30" y="0"/>
                      </a:cubicBezTo>
                      <a:cubicBezTo>
                        <a:pt x="14" y="0"/>
                        <a:pt x="0" y="13"/>
                        <a:pt x="0" y="30"/>
                      </a:cubicBezTo>
                      <a:cubicBezTo>
                        <a:pt x="0" y="111"/>
                        <a:pt x="0" y="111"/>
                        <a:pt x="0" y="111"/>
                      </a:cubicBezTo>
                      <a:cubicBezTo>
                        <a:pt x="109" y="111"/>
                        <a:pt x="109" y="111"/>
                        <a:pt x="109" y="111"/>
                      </a:cubicBezTo>
                      <a:lnTo>
                        <a:pt x="109" y="83"/>
                      </a:lnTo>
                      <a:close/>
                    </a:path>
                  </a:pathLst>
                </a:cu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132" name="Freeform 55"/>
                <p:cNvSpPr>
                  <a:spLocks noEditPoints="1"/>
                </p:cNvSpPr>
                <p:nvPr/>
              </p:nvSpPr>
              <p:spPr bwMode="auto">
                <a:xfrm>
                  <a:off x="9788525" y="4233863"/>
                  <a:ext cx="603250" cy="354013"/>
                </a:xfrm>
                <a:custGeom>
                  <a:avLst/>
                  <a:gdLst>
                    <a:gd name="T0" fmla="*/ 192 w 228"/>
                    <a:gd name="T1" fmla="*/ 0 h 134"/>
                    <a:gd name="T2" fmla="*/ 162 w 228"/>
                    <a:gd name="T3" fmla="*/ 0 h 134"/>
                    <a:gd name="T4" fmla="*/ 142 w 228"/>
                    <a:gd name="T5" fmla="*/ 20 h 134"/>
                    <a:gd name="T6" fmla="*/ 152 w 228"/>
                    <a:gd name="T7" fmla="*/ 35 h 134"/>
                    <a:gd name="T8" fmla="*/ 142 w 228"/>
                    <a:gd name="T9" fmla="*/ 46 h 134"/>
                    <a:gd name="T10" fmla="*/ 154 w 228"/>
                    <a:gd name="T11" fmla="*/ 57 h 134"/>
                    <a:gd name="T12" fmla="*/ 117 w 228"/>
                    <a:gd name="T13" fmla="*/ 131 h 134"/>
                    <a:gd name="T14" fmla="*/ 79 w 228"/>
                    <a:gd name="T15" fmla="*/ 54 h 134"/>
                    <a:gd name="T16" fmla="*/ 89 w 228"/>
                    <a:gd name="T17" fmla="*/ 43 h 134"/>
                    <a:gd name="T18" fmla="*/ 78 w 228"/>
                    <a:gd name="T19" fmla="*/ 32 h 134"/>
                    <a:gd name="T20" fmla="*/ 89 w 228"/>
                    <a:gd name="T21" fmla="*/ 19 h 134"/>
                    <a:gd name="T22" fmla="*/ 70 w 228"/>
                    <a:gd name="T23" fmla="*/ 0 h 134"/>
                    <a:gd name="T24" fmla="*/ 36 w 228"/>
                    <a:gd name="T25" fmla="*/ 0 h 134"/>
                    <a:gd name="T26" fmla="*/ 0 w 228"/>
                    <a:gd name="T27" fmla="*/ 36 h 134"/>
                    <a:gd name="T28" fmla="*/ 0 w 228"/>
                    <a:gd name="T29" fmla="*/ 134 h 134"/>
                    <a:gd name="T30" fmla="*/ 228 w 228"/>
                    <a:gd name="T31" fmla="*/ 134 h 134"/>
                    <a:gd name="T32" fmla="*/ 228 w 228"/>
                    <a:gd name="T33" fmla="*/ 36 h 134"/>
                    <a:gd name="T34" fmla="*/ 192 w 228"/>
                    <a:gd name="T35" fmla="*/ 0 h 134"/>
                    <a:gd name="T36" fmla="*/ 214 w 228"/>
                    <a:gd name="T37" fmla="*/ 56 h 134"/>
                    <a:gd name="T38" fmla="*/ 170 w 228"/>
                    <a:gd name="T39" fmla="*/ 56 h 134"/>
                    <a:gd name="T40" fmla="*/ 170 w 228"/>
                    <a:gd name="T41" fmla="*/ 43 h 134"/>
                    <a:gd name="T42" fmla="*/ 214 w 228"/>
                    <a:gd name="T43" fmla="*/ 43 h 134"/>
                    <a:gd name="T44" fmla="*/ 214 w 228"/>
                    <a:gd name="T45" fmla="*/ 5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8" h="134">
                      <a:moveTo>
                        <a:pt x="192" y="0"/>
                      </a:moveTo>
                      <a:cubicBezTo>
                        <a:pt x="162" y="0"/>
                        <a:pt x="162" y="0"/>
                        <a:pt x="162" y="0"/>
                      </a:cubicBezTo>
                      <a:cubicBezTo>
                        <a:pt x="142" y="20"/>
                        <a:pt x="142" y="20"/>
                        <a:pt x="142" y="20"/>
                      </a:cubicBezTo>
                      <a:cubicBezTo>
                        <a:pt x="152" y="35"/>
                        <a:pt x="152" y="35"/>
                        <a:pt x="152" y="35"/>
                      </a:cubicBezTo>
                      <a:cubicBezTo>
                        <a:pt x="142" y="46"/>
                        <a:pt x="142" y="46"/>
                        <a:pt x="142" y="46"/>
                      </a:cubicBezTo>
                      <a:cubicBezTo>
                        <a:pt x="154" y="57"/>
                        <a:pt x="154" y="57"/>
                        <a:pt x="154" y="57"/>
                      </a:cubicBezTo>
                      <a:cubicBezTo>
                        <a:pt x="117" y="131"/>
                        <a:pt x="117" y="131"/>
                        <a:pt x="117" y="131"/>
                      </a:cubicBezTo>
                      <a:cubicBezTo>
                        <a:pt x="79" y="54"/>
                        <a:pt x="79" y="54"/>
                        <a:pt x="79" y="54"/>
                      </a:cubicBezTo>
                      <a:cubicBezTo>
                        <a:pt x="89" y="43"/>
                        <a:pt x="89" y="43"/>
                        <a:pt x="89" y="43"/>
                      </a:cubicBezTo>
                      <a:cubicBezTo>
                        <a:pt x="78" y="32"/>
                        <a:pt x="78" y="32"/>
                        <a:pt x="78" y="32"/>
                      </a:cubicBezTo>
                      <a:cubicBezTo>
                        <a:pt x="89" y="19"/>
                        <a:pt x="89" y="19"/>
                        <a:pt x="89" y="19"/>
                      </a:cubicBezTo>
                      <a:cubicBezTo>
                        <a:pt x="70" y="0"/>
                        <a:pt x="70" y="0"/>
                        <a:pt x="70" y="0"/>
                      </a:cubicBezTo>
                      <a:cubicBezTo>
                        <a:pt x="36" y="0"/>
                        <a:pt x="36" y="0"/>
                        <a:pt x="36" y="0"/>
                      </a:cubicBezTo>
                      <a:cubicBezTo>
                        <a:pt x="16" y="0"/>
                        <a:pt x="0" y="16"/>
                        <a:pt x="0" y="36"/>
                      </a:cubicBezTo>
                      <a:cubicBezTo>
                        <a:pt x="0" y="134"/>
                        <a:pt x="0" y="134"/>
                        <a:pt x="0" y="134"/>
                      </a:cubicBezTo>
                      <a:cubicBezTo>
                        <a:pt x="228" y="134"/>
                        <a:pt x="228" y="134"/>
                        <a:pt x="228" y="134"/>
                      </a:cubicBezTo>
                      <a:cubicBezTo>
                        <a:pt x="228" y="36"/>
                        <a:pt x="228" y="36"/>
                        <a:pt x="228" y="36"/>
                      </a:cubicBezTo>
                      <a:cubicBezTo>
                        <a:pt x="228" y="16"/>
                        <a:pt x="212" y="0"/>
                        <a:pt x="192" y="0"/>
                      </a:cubicBezTo>
                      <a:close/>
                      <a:moveTo>
                        <a:pt x="214" y="56"/>
                      </a:moveTo>
                      <a:cubicBezTo>
                        <a:pt x="170" y="56"/>
                        <a:pt x="170" y="56"/>
                        <a:pt x="170" y="56"/>
                      </a:cubicBezTo>
                      <a:cubicBezTo>
                        <a:pt x="170" y="43"/>
                        <a:pt x="170" y="43"/>
                        <a:pt x="170" y="43"/>
                      </a:cubicBezTo>
                      <a:cubicBezTo>
                        <a:pt x="214" y="43"/>
                        <a:pt x="214" y="43"/>
                        <a:pt x="214" y="43"/>
                      </a:cubicBezTo>
                      <a:lnTo>
                        <a:pt x="214" y="56"/>
                      </a:lnTo>
                      <a:close/>
                    </a:path>
                  </a:pathLst>
                </a:custGeom>
                <a:grpFill/>
                <a:ln>
                  <a:noFill/>
                </a:ln>
              </p:spPr>
              <p:txBody>
                <a:bodyPr vert="horz" wrap="square" lIns="91440" tIns="45720" rIns="91440" bIns="45720" numCol="1" anchor="t" anchorCtr="0" compatLnSpc="1">
                  <a:prstTxWarp prst="textNoShape">
                    <a:avLst/>
                  </a:prstTxWarp>
                </a:bodyPr>
                <a:lstStyle/>
                <a:p>
                  <a:endParaRPr lang="en-US" sz="900" noProof="1"/>
                </a:p>
              </p:txBody>
            </p:sp>
          </p:grpSp>
        </p:grpSp>
      </p:grpSp>
      <p:sp>
        <p:nvSpPr>
          <p:cNvPr id="133" name="Rectangle 132"/>
          <p:cNvSpPr/>
          <p:nvPr/>
        </p:nvSpPr>
        <p:spPr>
          <a:xfrm>
            <a:off x="6188297" y="1285264"/>
            <a:ext cx="1309859" cy="57667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a:t>Issuer</a:t>
            </a:r>
            <a:endParaRPr lang="fr-FR" dirty="0"/>
          </a:p>
          <a:p>
            <a:pPr algn="ctr"/>
            <a:endParaRPr lang="fr-FR" dirty="0"/>
          </a:p>
        </p:txBody>
      </p:sp>
    </p:spTree>
    <p:extLst>
      <p:ext uri="{BB962C8B-B14F-4D97-AF65-F5344CB8AC3E}">
        <p14:creationId xmlns:p14="http://schemas.microsoft.com/office/powerpoint/2010/main" val="35925840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pied de page 1"/>
          <p:cNvSpPr>
            <a:spLocks noGrp="1"/>
          </p:cNvSpPr>
          <p:nvPr>
            <p:ph type="ftr" sz="quarter" idx="3"/>
          </p:nvPr>
        </p:nvSpPr>
        <p:spPr/>
        <p:txBody>
          <a:bodyPr/>
          <a:lstStyle/>
          <a:p>
            <a:r>
              <a:rPr lang="en-GB" dirty="0"/>
              <a:t>  </a:t>
            </a:r>
          </a:p>
        </p:txBody>
      </p:sp>
      <p:sp>
        <p:nvSpPr>
          <p:cNvPr id="3" name="Espace réservé de la date 2"/>
          <p:cNvSpPr>
            <a:spLocks noGrp="1"/>
          </p:cNvSpPr>
          <p:nvPr>
            <p:ph type="dt" sz="half" idx="2"/>
          </p:nvPr>
        </p:nvSpPr>
        <p:spPr/>
        <p:txBody>
          <a:bodyPr/>
          <a:lstStyle/>
          <a:p>
            <a:r>
              <a:rPr lang="en-GB" dirty="0"/>
              <a:t>  </a:t>
            </a:r>
          </a:p>
        </p:txBody>
      </p:sp>
      <p:sp>
        <p:nvSpPr>
          <p:cNvPr id="4" name="Espace réservé du numéro de diapositive 3"/>
          <p:cNvSpPr>
            <a:spLocks noGrp="1"/>
          </p:cNvSpPr>
          <p:nvPr>
            <p:ph type="sldNum" sz="quarter" idx="4"/>
          </p:nvPr>
        </p:nvSpPr>
        <p:spPr/>
        <p:txBody>
          <a:bodyPr/>
          <a:lstStyle/>
          <a:p>
            <a:fld id="{BF6629C6-E8D8-4E6B-8015-798ECD15B16B}" type="slidenum">
              <a:rPr lang="en-GB" smtClean="0"/>
              <a:pPr/>
              <a:t>4</a:t>
            </a:fld>
            <a:endParaRPr lang="en-GB" dirty="0"/>
          </a:p>
        </p:txBody>
      </p:sp>
      <p:sp>
        <p:nvSpPr>
          <p:cNvPr id="5" name="Titre 4"/>
          <p:cNvSpPr>
            <a:spLocks noGrp="1"/>
          </p:cNvSpPr>
          <p:nvPr>
            <p:ph type="title"/>
          </p:nvPr>
        </p:nvSpPr>
        <p:spPr/>
        <p:txBody>
          <a:bodyPr/>
          <a:lstStyle/>
          <a:p>
            <a:r>
              <a:rPr lang="fr-FR" dirty="0" err="1"/>
              <a:t>Immediate</a:t>
            </a:r>
            <a:r>
              <a:rPr lang="fr-FR" dirty="0"/>
              <a:t> </a:t>
            </a:r>
            <a:r>
              <a:rPr lang="fr-FR" dirty="0" err="1"/>
              <a:t>advantages</a:t>
            </a:r>
            <a:endParaRPr lang="fr-FR" dirty="0"/>
          </a:p>
        </p:txBody>
      </p:sp>
      <p:grpSp>
        <p:nvGrpSpPr>
          <p:cNvPr id="8" name="Group 177"/>
          <p:cNvGrpSpPr/>
          <p:nvPr/>
        </p:nvGrpSpPr>
        <p:grpSpPr>
          <a:xfrm>
            <a:off x="576288" y="1296194"/>
            <a:ext cx="916305" cy="969034"/>
            <a:chOff x="1647955" y="5078414"/>
            <a:chExt cx="916305" cy="969034"/>
          </a:xfrm>
        </p:grpSpPr>
        <p:sp>
          <p:nvSpPr>
            <p:cNvPr id="9" name="Freeform 7"/>
            <p:cNvSpPr>
              <a:spLocks/>
            </p:cNvSpPr>
            <p:nvPr/>
          </p:nvSpPr>
          <p:spPr bwMode="auto">
            <a:xfrm>
              <a:off x="1647955" y="5078414"/>
              <a:ext cx="916305" cy="370708"/>
            </a:xfrm>
            <a:prstGeom prst="rect">
              <a:avLst/>
            </a:prstGeom>
            <a:solidFill>
              <a:schemeClr val="bg1"/>
            </a:solidFill>
            <a:ln w="9525" algn="ctr">
              <a:noFill/>
              <a:miter lim="800000"/>
              <a:headEnd type="none" w="lg" len="lg"/>
              <a:tailEnd type="none" w="lg" len="lg"/>
            </a:ln>
          </p:spPr>
          <p:txBody>
            <a:bodyPr lIns="0" tIns="0" rIns="0" bIns="0" anchor="ctr"/>
            <a:lstStyle/>
            <a:p>
              <a:pPr algn="ctr" defTabSz="1040767">
                <a:lnSpc>
                  <a:spcPct val="90000"/>
                </a:lnSpc>
              </a:pPr>
              <a:r>
                <a:rPr lang="en-US" sz="900" b="1" noProof="1">
                  <a:solidFill>
                    <a:schemeClr val="tx2"/>
                  </a:solidFill>
                  <a:ea typeface="ヒラギノ角ゴ Pro W3"/>
                  <a:cs typeface="ヒラギノ角ゴ Pro W3"/>
                </a:rPr>
                <a:t>chryptograpgy</a:t>
              </a:r>
            </a:p>
          </p:txBody>
        </p:sp>
        <p:grpSp>
          <p:nvGrpSpPr>
            <p:cNvPr id="10" name="Group 24"/>
            <p:cNvGrpSpPr/>
            <p:nvPr/>
          </p:nvGrpSpPr>
          <p:grpSpPr>
            <a:xfrm>
              <a:off x="1818075" y="5471384"/>
              <a:ext cx="576064" cy="576064"/>
              <a:chOff x="1818075" y="5471384"/>
              <a:chExt cx="576064" cy="576064"/>
            </a:xfrm>
          </p:grpSpPr>
          <p:sp>
            <p:nvSpPr>
              <p:cNvPr id="11" name="Rectangle 10"/>
              <p:cNvSpPr/>
              <p:nvPr/>
            </p:nvSpPr>
            <p:spPr>
              <a:xfrm>
                <a:off x="1818075" y="5471384"/>
                <a:ext cx="576064" cy="57606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2" name="Group 439"/>
              <p:cNvGrpSpPr/>
              <p:nvPr/>
            </p:nvGrpSpPr>
            <p:grpSpPr>
              <a:xfrm>
                <a:off x="1887555" y="5545491"/>
                <a:ext cx="437104" cy="427849"/>
                <a:chOff x="8358463" y="4849107"/>
                <a:chExt cx="309065" cy="302520"/>
              </a:xfrm>
              <a:solidFill>
                <a:schemeClr val="bg1"/>
              </a:solidFill>
            </p:grpSpPr>
            <p:sp>
              <p:nvSpPr>
                <p:cNvPr id="13" name="Freeform 9"/>
                <p:cNvSpPr>
                  <a:spLocks noEditPoints="1"/>
                </p:cNvSpPr>
                <p:nvPr/>
              </p:nvSpPr>
              <p:spPr bwMode="auto">
                <a:xfrm>
                  <a:off x="8358463" y="4849107"/>
                  <a:ext cx="212709" cy="201688"/>
                </a:xfrm>
                <a:custGeom>
                  <a:avLst/>
                  <a:gdLst>
                    <a:gd name="T0" fmla="*/ 353 w 368"/>
                    <a:gd name="T1" fmla="*/ 257 h 350"/>
                    <a:gd name="T2" fmla="*/ 341 w 368"/>
                    <a:gd name="T3" fmla="*/ 223 h 350"/>
                    <a:gd name="T4" fmla="*/ 368 w 368"/>
                    <a:gd name="T5" fmla="*/ 200 h 350"/>
                    <a:gd name="T6" fmla="*/ 260 w 368"/>
                    <a:gd name="T7" fmla="*/ 176 h 350"/>
                    <a:gd name="T8" fmla="*/ 324 w 368"/>
                    <a:gd name="T9" fmla="*/ 113 h 350"/>
                    <a:gd name="T10" fmla="*/ 324 w 368"/>
                    <a:gd name="T11" fmla="*/ 112 h 350"/>
                    <a:gd name="T12" fmla="*/ 312 w 368"/>
                    <a:gd name="T13" fmla="*/ 34 h 350"/>
                    <a:gd name="T14" fmla="*/ 243 w 368"/>
                    <a:gd name="T15" fmla="*/ 14 h 350"/>
                    <a:gd name="T16" fmla="*/ 242 w 368"/>
                    <a:gd name="T17" fmla="*/ 15 h 350"/>
                    <a:gd name="T18" fmla="*/ 7 w 368"/>
                    <a:gd name="T19" fmla="*/ 235 h 350"/>
                    <a:gd name="T20" fmla="*/ 10 w 368"/>
                    <a:gd name="T21" fmla="*/ 239 h 350"/>
                    <a:gd name="T22" fmla="*/ 10 w 368"/>
                    <a:gd name="T23" fmla="*/ 239 h 350"/>
                    <a:gd name="T24" fmla="*/ 16 w 368"/>
                    <a:gd name="T25" fmla="*/ 249 h 350"/>
                    <a:gd name="T26" fmla="*/ 88 w 368"/>
                    <a:gd name="T27" fmla="*/ 263 h 350"/>
                    <a:gd name="T28" fmla="*/ 102 w 368"/>
                    <a:gd name="T29" fmla="*/ 310 h 350"/>
                    <a:gd name="T30" fmla="*/ 78 w 368"/>
                    <a:gd name="T31" fmla="*/ 336 h 350"/>
                    <a:gd name="T32" fmla="*/ 27 w 368"/>
                    <a:gd name="T33" fmla="*/ 326 h 350"/>
                    <a:gd name="T34" fmla="*/ 19 w 368"/>
                    <a:gd name="T35" fmla="*/ 286 h 350"/>
                    <a:gd name="T36" fmla="*/ 31 w 368"/>
                    <a:gd name="T37" fmla="*/ 273 h 350"/>
                    <a:gd name="T38" fmla="*/ 66 w 368"/>
                    <a:gd name="T39" fmla="*/ 285 h 350"/>
                    <a:gd name="T40" fmla="*/ 69 w 368"/>
                    <a:gd name="T41" fmla="*/ 291 h 350"/>
                    <a:gd name="T42" fmla="*/ 81 w 368"/>
                    <a:gd name="T43" fmla="*/ 295 h 350"/>
                    <a:gd name="T44" fmla="*/ 75 w 368"/>
                    <a:gd name="T45" fmla="*/ 277 h 350"/>
                    <a:gd name="T46" fmla="*/ 28 w 368"/>
                    <a:gd name="T47" fmla="*/ 261 h 350"/>
                    <a:gd name="T48" fmla="*/ 7 w 368"/>
                    <a:gd name="T49" fmla="*/ 283 h 350"/>
                    <a:gd name="T50" fmla="*/ 19 w 368"/>
                    <a:gd name="T51" fmla="*/ 335 h 350"/>
                    <a:gd name="T52" fmla="*/ 63 w 368"/>
                    <a:gd name="T53" fmla="*/ 350 h 350"/>
                    <a:gd name="T54" fmla="*/ 82 w 368"/>
                    <a:gd name="T55" fmla="*/ 347 h 350"/>
                    <a:gd name="T56" fmla="*/ 104 w 368"/>
                    <a:gd name="T57" fmla="*/ 331 h 350"/>
                    <a:gd name="T58" fmla="*/ 181 w 368"/>
                    <a:gd name="T59" fmla="*/ 255 h 350"/>
                    <a:gd name="T60" fmla="*/ 266 w 368"/>
                    <a:gd name="T61" fmla="*/ 334 h 350"/>
                    <a:gd name="T62" fmla="*/ 266 w 368"/>
                    <a:gd name="T63" fmla="*/ 292 h 350"/>
                    <a:gd name="T64" fmla="*/ 303 w 368"/>
                    <a:gd name="T65" fmla="*/ 289 h 350"/>
                    <a:gd name="T66" fmla="*/ 214 w 368"/>
                    <a:gd name="T67" fmla="*/ 222 h 350"/>
                    <a:gd name="T68" fmla="*/ 225 w 368"/>
                    <a:gd name="T69" fmla="*/ 211 h 350"/>
                    <a:gd name="T70" fmla="*/ 353 w 368"/>
                    <a:gd name="T71" fmla="*/ 257 h 350"/>
                    <a:gd name="T72" fmla="*/ 98 w 368"/>
                    <a:gd name="T73" fmla="*/ 256 h 350"/>
                    <a:gd name="T74" fmla="*/ 28 w 368"/>
                    <a:gd name="T75" fmla="*/ 231 h 350"/>
                    <a:gd name="T76" fmla="*/ 124 w 368"/>
                    <a:gd name="T77" fmla="*/ 142 h 350"/>
                    <a:gd name="T78" fmla="*/ 195 w 368"/>
                    <a:gd name="T79" fmla="*/ 188 h 350"/>
                    <a:gd name="T80" fmla="*/ 241 w 368"/>
                    <a:gd name="T81" fmla="*/ 148 h 350"/>
                    <a:gd name="T82" fmla="*/ 165 w 368"/>
                    <a:gd name="T83" fmla="*/ 103 h 350"/>
                    <a:gd name="T84" fmla="*/ 248 w 368"/>
                    <a:gd name="T85" fmla="*/ 25 h 350"/>
                    <a:gd name="T86" fmla="*/ 303 w 368"/>
                    <a:gd name="T87" fmla="*/ 43 h 350"/>
                    <a:gd name="T88" fmla="*/ 314 w 368"/>
                    <a:gd name="T89" fmla="*/ 106 h 350"/>
                    <a:gd name="T90" fmla="*/ 115 w 368"/>
                    <a:gd name="T91" fmla="*/ 303 h 350"/>
                    <a:gd name="T92" fmla="*/ 98 w 368"/>
                    <a:gd name="T93" fmla="*/ 256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68" h="350">
                      <a:moveTo>
                        <a:pt x="353" y="257"/>
                      </a:moveTo>
                      <a:cubicBezTo>
                        <a:pt x="341" y="223"/>
                        <a:pt x="341" y="223"/>
                        <a:pt x="341" y="223"/>
                      </a:cubicBezTo>
                      <a:cubicBezTo>
                        <a:pt x="368" y="200"/>
                        <a:pt x="368" y="200"/>
                        <a:pt x="368" y="200"/>
                      </a:cubicBezTo>
                      <a:cubicBezTo>
                        <a:pt x="260" y="176"/>
                        <a:pt x="260" y="176"/>
                        <a:pt x="260" y="176"/>
                      </a:cubicBezTo>
                      <a:cubicBezTo>
                        <a:pt x="324" y="113"/>
                        <a:pt x="324" y="113"/>
                        <a:pt x="324" y="113"/>
                      </a:cubicBezTo>
                      <a:cubicBezTo>
                        <a:pt x="324" y="112"/>
                        <a:pt x="324" y="112"/>
                        <a:pt x="324" y="112"/>
                      </a:cubicBezTo>
                      <a:cubicBezTo>
                        <a:pt x="324" y="112"/>
                        <a:pt x="346" y="69"/>
                        <a:pt x="312" y="34"/>
                      </a:cubicBezTo>
                      <a:cubicBezTo>
                        <a:pt x="277" y="0"/>
                        <a:pt x="244" y="14"/>
                        <a:pt x="243" y="14"/>
                      </a:cubicBezTo>
                      <a:cubicBezTo>
                        <a:pt x="242" y="15"/>
                        <a:pt x="242" y="15"/>
                        <a:pt x="242" y="15"/>
                      </a:cubicBezTo>
                      <a:cubicBezTo>
                        <a:pt x="7" y="235"/>
                        <a:pt x="7" y="235"/>
                        <a:pt x="7" y="235"/>
                      </a:cubicBezTo>
                      <a:cubicBezTo>
                        <a:pt x="10" y="239"/>
                        <a:pt x="10" y="239"/>
                        <a:pt x="10" y="239"/>
                      </a:cubicBezTo>
                      <a:cubicBezTo>
                        <a:pt x="10" y="239"/>
                        <a:pt x="10" y="239"/>
                        <a:pt x="10" y="239"/>
                      </a:cubicBezTo>
                      <a:cubicBezTo>
                        <a:pt x="16" y="249"/>
                        <a:pt x="16" y="249"/>
                        <a:pt x="16" y="249"/>
                      </a:cubicBezTo>
                      <a:cubicBezTo>
                        <a:pt x="18" y="248"/>
                        <a:pt x="57" y="223"/>
                        <a:pt x="88" y="263"/>
                      </a:cubicBezTo>
                      <a:cubicBezTo>
                        <a:pt x="101" y="280"/>
                        <a:pt x="106" y="296"/>
                        <a:pt x="102" y="310"/>
                      </a:cubicBezTo>
                      <a:cubicBezTo>
                        <a:pt x="98" y="323"/>
                        <a:pt x="87" y="332"/>
                        <a:pt x="78" y="336"/>
                      </a:cubicBezTo>
                      <a:cubicBezTo>
                        <a:pt x="68" y="339"/>
                        <a:pt x="41" y="339"/>
                        <a:pt x="27" y="326"/>
                      </a:cubicBezTo>
                      <a:cubicBezTo>
                        <a:pt x="17" y="317"/>
                        <a:pt x="14" y="304"/>
                        <a:pt x="19" y="286"/>
                      </a:cubicBezTo>
                      <a:cubicBezTo>
                        <a:pt x="21" y="278"/>
                        <a:pt x="25" y="274"/>
                        <a:pt x="31" y="273"/>
                      </a:cubicBezTo>
                      <a:cubicBezTo>
                        <a:pt x="43" y="270"/>
                        <a:pt x="59" y="277"/>
                        <a:pt x="66" y="285"/>
                      </a:cubicBezTo>
                      <a:cubicBezTo>
                        <a:pt x="69" y="288"/>
                        <a:pt x="70" y="290"/>
                        <a:pt x="69" y="291"/>
                      </a:cubicBezTo>
                      <a:cubicBezTo>
                        <a:pt x="81" y="295"/>
                        <a:pt x="81" y="295"/>
                        <a:pt x="81" y="295"/>
                      </a:cubicBezTo>
                      <a:cubicBezTo>
                        <a:pt x="83" y="290"/>
                        <a:pt x="81" y="283"/>
                        <a:pt x="75" y="277"/>
                      </a:cubicBezTo>
                      <a:cubicBezTo>
                        <a:pt x="65" y="266"/>
                        <a:pt x="45" y="257"/>
                        <a:pt x="28" y="261"/>
                      </a:cubicBezTo>
                      <a:cubicBezTo>
                        <a:pt x="21" y="263"/>
                        <a:pt x="11" y="268"/>
                        <a:pt x="7" y="283"/>
                      </a:cubicBezTo>
                      <a:cubicBezTo>
                        <a:pt x="0" y="311"/>
                        <a:pt x="10" y="327"/>
                        <a:pt x="19" y="335"/>
                      </a:cubicBezTo>
                      <a:cubicBezTo>
                        <a:pt x="31" y="346"/>
                        <a:pt x="48" y="350"/>
                        <a:pt x="63" y="350"/>
                      </a:cubicBezTo>
                      <a:cubicBezTo>
                        <a:pt x="70" y="350"/>
                        <a:pt x="77" y="349"/>
                        <a:pt x="82" y="347"/>
                      </a:cubicBezTo>
                      <a:cubicBezTo>
                        <a:pt x="89" y="344"/>
                        <a:pt x="98" y="339"/>
                        <a:pt x="104" y="331"/>
                      </a:cubicBezTo>
                      <a:cubicBezTo>
                        <a:pt x="181" y="255"/>
                        <a:pt x="181" y="255"/>
                        <a:pt x="181" y="255"/>
                      </a:cubicBezTo>
                      <a:cubicBezTo>
                        <a:pt x="266" y="334"/>
                        <a:pt x="266" y="334"/>
                        <a:pt x="266" y="334"/>
                      </a:cubicBezTo>
                      <a:cubicBezTo>
                        <a:pt x="266" y="292"/>
                        <a:pt x="266" y="292"/>
                        <a:pt x="266" y="292"/>
                      </a:cubicBezTo>
                      <a:cubicBezTo>
                        <a:pt x="303" y="289"/>
                        <a:pt x="303" y="289"/>
                        <a:pt x="303" y="289"/>
                      </a:cubicBezTo>
                      <a:cubicBezTo>
                        <a:pt x="214" y="222"/>
                        <a:pt x="214" y="222"/>
                        <a:pt x="214" y="222"/>
                      </a:cubicBezTo>
                      <a:cubicBezTo>
                        <a:pt x="225" y="211"/>
                        <a:pt x="225" y="211"/>
                        <a:pt x="225" y="211"/>
                      </a:cubicBezTo>
                      <a:lnTo>
                        <a:pt x="353" y="257"/>
                      </a:lnTo>
                      <a:close/>
                      <a:moveTo>
                        <a:pt x="98" y="256"/>
                      </a:moveTo>
                      <a:cubicBezTo>
                        <a:pt x="74" y="225"/>
                        <a:pt x="46" y="226"/>
                        <a:pt x="28" y="231"/>
                      </a:cubicBezTo>
                      <a:cubicBezTo>
                        <a:pt x="124" y="142"/>
                        <a:pt x="124" y="142"/>
                        <a:pt x="124" y="142"/>
                      </a:cubicBezTo>
                      <a:cubicBezTo>
                        <a:pt x="141" y="141"/>
                        <a:pt x="175" y="146"/>
                        <a:pt x="195" y="188"/>
                      </a:cubicBezTo>
                      <a:cubicBezTo>
                        <a:pt x="241" y="148"/>
                        <a:pt x="241" y="148"/>
                        <a:pt x="241" y="148"/>
                      </a:cubicBezTo>
                      <a:cubicBezTo>
                        <a:pt x="241" y="148"/>
                        <a:pt x="222" y="101"/>
                        <a:pt x="165" y="103"/>
                      </a:cubicBezTo>
                      <a:cubicBezTo>
                        <a:pt x="248" y="25"/>
                        <a:pt x="248" y="25"/>
                        <a:pt x="248" y="25"/>
                      </a:cubicBezTo>
                      <a:cubicBezTo>
                        <a:pt x="253" y="23"/>
                        <a:pt x="277" y="17"/>
                        <a:pt x="303" y="43"/>
                      </a:cubicBezTo>
                      <a:cubicBezTo>
                        <a:pt x="330" y="69"/>
                        <a:pt x="317" y="100"/>
                        <a:pt x="314" y="106"/>
                      </a:cubicBezTo>
                      <a:cubicBezTo>
                        <a:pt x="115" y="303"/>
                        <a:pt x="115" y="303"/>
                        <a:pt x="115" y="303"/>
                      </a:cubicBezTo>
                      <a:cubicBezTo>
                        <a:pt x="116" y="291"/>
                        <a:pt x="113" y="275"/>
                        <a:pt x="98" y="256"/>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noProof="1"/>
                </a:p>
              </p:txBody>
            </p:sp>
            <p:grpSp>
              <p:nvGrpSpPr>
                <p:cNvPr id="14" name="Group 441"/>
                <p:cNvGrpSpPr/>
                <p:nvPr/>
              </p:nvGrpSpPr>
              <p:grpSpPr>
                <a:xfrm flipH="1" flipV="1">
                  <a:off x="8503704" y="4976775"/>
                  <a:ext cx="163824" cy="174852"/>
                  <a:chOff x="2218463" y="5301059"/>
                  <a:chExt cx="1038951" cy="1108892"/>
                </a:xfrm>
                <a:grpFill/>
              </p:grpSpPr>
              <p:sp>
                <p:nvSpPr>
                  <p:cNvPr id="15" name="Freeform 12"/>
                  <p:cNvSpPr>
                    <a:spLocks/>
                  </p:cNvSpPr>
                  <p:nvPr/>
                </p:nvSpPr>
                <p:spPr bwMode="auto">
                  <a:xfrm>
                    <a:off x="2218463" y="5301059"/>
                    <a:ext cx="784618" cy="1108892"/>
                  </a:xfrm>
                  <a:custGeom>
                    <a:avLst/>
                    <a:gdLst>
                      <a:gd name="T0" fmla="*/ 14 w 289"/>
                      <a:gd name="T1" fmla="*/ 179 h 409"/>
                      <a:gd name="T2" fmla="*/ 1 w 289"/>
                      <a:gd name="T3" fmla="*/ 202 h 409"/>
                      <a:gd name="T4" fmla="*/ 28 w 289"/>
                      <a:gd name="T5" fmla="*/ 242 h 409"/>
                      <a:gd name="T6" fmla="*/ 135 w 289"/>
                      <a:gd name="T7" fmla="*/ 246 h 409"/>
                      <a:gd name="T8" fmla="*/ 113 w 289"/>
                      <a:gd name="T9" fmla="*/ 315 h 409"/>
                      <a:gd name="T10" fmla="*/ 117 w 289"/>
                      <a:gd name="T11" fmla="*/ 388 h 409"/>
                      <a:gd name="T12" fmla="*/ 161 w 289"/>
                      <a:gd name="T13" fmla="*/ 400 h 409"/>
                      <a:gd name="T14" fmla="*/ 194 w 289"/>
                      <a:gd name="T15" fmla="*/ 304 h 409"/>
                      <a:gd name="T16" fmla="*/ 218 w 289"/>
                      <a:gd name="T17" fmla="*/ 278 h 409"/>
                      <a:gd name="T18" fmla="*/ 280 w 289"/>
                      <a:gd name="T19" fmla="*/ 189 h 409"/>
                      <a:gd name="T20" fmla="*/ 287 w 289"/>
                      <a:gd name="T21" fmla="*/ 189 h 409"/>
                      <a:gd name="T22" fmla="*/ 287 w 289"/>
                      <a:gd name="T23" fmla="*/ 189 h 409"/>
                      <a:gd name="T24" fmla="*/ 289 w 289"/>
                      <a:gd name="T25" fmla="*/ 189 h 409"/>
                      <a:gd name="T26" fmla="*/ 289 w 289"/>
                      <a:gd name="T27" fmla="*/ 25 h 409"/>
                      <a:gd name="T28" fmla="*/ 203 w 289"/>
                      <a:gd name="T29" fmla="*/ 10 h 409"/>
                      <a:gd name="T30" fmla="*/ 66 w 289"/>
                      <a:gd name="T31" fmla="*/ 10 h 409"/>
                      <a:gd name="T32" fmla="*/ 33 w 289"/>
                      <a:gd name="T33" fmla="*/ 38 h 409"/>
                      <a:gd name="T34" fmla="*/ 32 w 289"/>
                      <a:gd name="T35" fmla="*/ 63 h 409"/>
                      <a:gd name="T36" fmla="*/ 10 w 289"/>
                      <a:gd name="T37" fmla="*/ 92 h 409"/>
                      <a:gd name="T38" fmla="*/ 18 w 289"/>
                      <a:gd name="T39" fmla="*/ 122 h 409"/>
                      <a:gd name="T40" fmla="*/ 1 w 289"/>
                      <a:gd name="T41" fmla="*/ 149 h 409"/>
                      <a:gd name="T42" fmla="*/ 14 w 289"/>
                      <a:gd name="T43" fmla="*/ 179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9" h="409">
                        <a:moveTo>
                          <a:pt x="14" y="179"/>
                        </a:moveTo>
                        <a:cubicBezTo>
                          <a:pt x="14" y="186"/>
                          <a:pt x="2" y="195"/>
                          <a:pt x="1" y="202"/>
                        </a:cubicBezTo>
                        <a:cubicBezTo>
                          <a:pt x="0" y="214"/>
                          <a:pt x="17" y="237"/>
                          <a:pt x="28" y="242"/>
                        </a:cubicBezTo>
                        <a:cubicBezTo>
                          <a:pt x="45" y="249"/>
                          <a:pt x="135" y="246"/>
                          <a:pt x="135" y="246"/>
                        </a:cubicBezTo>
                        <a:cubicBezTo>
                          <a:pt x="144" y="261"/>
                          <a:pt x="120" y="299"/>
                          <a:pt x="113" y="315"/>
                        </a:cubicBezTo>
                        <a:cubicBezTo>
                          <a:pt x="103" y="339"/>
                          <a:pt x="105" y="371"/>
                          <a:pt x="117" y="388"/>
                        </a:cubicBezTo>
                        <a:cubicBezTo>
                          <a:pt x="133" y="408"/>
                          <a:pt x="160" y="409"/>
                          <a:pt x="161" y="400"/>
                        </a:cubicBezTo>
                        <a:cubicBezTo>
                          <a:pt x="165" y="335"/>
                          <a:pt x="178" y="317"/>
                          <a:pt x="194" y="304"/>
                        </a:cubicBezTo>
                        <a:cubicBezTo>
                          <a:pt x="204" y="297"/>
                          <a:pt x="213" y="290"/>
                          <a:pt x="218" y="278"/>
                        </a:cubicBezTo>
                        <a:cubicBezTo>
                          <a:pt x="246" y="206"/>
                          <a:pt x="269" y="191"/>
                          <a:pt x="280" y="189"/>
                        </a:cubicBezTo>
                        <a:cubicBezTo>
                          <a:pt x="287" y="189"/>
                          <a:pt x="287" y="189"/>
                          <a:pt x="287" y="189"/>
                        </a:cubicBezTo>
                        <a:cubicBezTo>
                          <a:pt x="287" y="189"/>
                          <a:pt x="287" y="189"/>
                          <a:pt x="287" y="189"/>
                        </a:cubicBezTo>
                        <a:cubicBezTo>
                          <a:pt x="289" y="189"/>
                          <a:pt x="289" y="189"/>
                          <a:pt x="289" y="189"/>
                        </a:cubicBezTo>
                        <a:cubicBezTo>
                          <a:pt x="289" y="25"/>
                          <a:pt x="289" y="25"/>
                          <a:pt x="289" y="25"/>
                        </a:cubicBezTo>
                        <a:cubicBezTo>
                          <a:pt x="203" y="10"/>
                          <a:pt x="203" y="10"/>
                          <a:pt x="203" y="10"/>
                        </a:cubicBezTo>
                        <a:cubicBezTo>
                          <a:pt x="203" y="10"/>
                          <a:pt x="99" y="0"/>
                          <a:pt x="66" y="10"/>
                        </a:cubicBezTo>
                        <a:cubicBezTo>
                          <a:pt x="56" y="13"/>
                          <a:pt x="38" y="28"/>
                          <a:pt x="33" y="38"/>
                        </a:cubicBezTo>
                        <a:cubicBezTo>
                          <a:pt x="31" y="44"/>
                          <a:pt x="34" y="57"/>
                          <a:pt x="32" y="63"/>
                        </a:cubicBezTo>
                        <a:cubicBezTo>
                          <a:pt x="27" y="71"/>
                          <a:pt x="10" y="81"/>
                          <a:pt x="10" y="92"/>
                        </a:cubicBezTo>
                        <a:cubicBezTo>
                          <a:pt x="10" y="100"/>
                          <a:pt x="19" y="114"/>
                          <a:pt x="18" y="122"/>
                        </a:cubicBezTo>
                        <a:cubicBezTo>
                          <a:pt x="18" y="130"/>
                          <a:pt x="1" y="141"/>
                          <a:pt x="1" y="149"/>
                        </a:cubicBezTo>
                        <a:cubicBezTo>
                          <a:pt x="1" y="157"/>
                          <a:pt x="16" y="171"/>
                          <a:pt x="14" y="1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noProof="1"/>
                  </a:p>
                </p:txBody>
              </p:sp>
              <p:sp>
                <p:nvSpPr>
                  <p:cNvPr id="16" name="Freeform 13"/>
                  <p:cNvSpPr>
                    <a:spLocks/>
                  </p:cNvSpPr>
                  <p:nvPr/>
                </p:nvSpPr>
                <p:spPr bwMode="auto">
                  <a:xfrm>
                    <a:off x="3038687" y="5339209"/>
                    <a:ext cx="218727" cy="498493"/>
                  </a:xfrm>
                  <a:custGeom>
                    <a:avLst/>
                    <a:gdLst>
                      <a:gd name="T0" fmla="*/ 0 w 81"/>
                      <a:gd name="T1" fmla="*/ 17 h 184"/>
                      <a:gd name="T2" fmla="*/ 18 w 81"/>
                      <a:gd name="T3" fmla="*/ 0 h 184"/>
                      <a:gd name="T4" fmla="*/ 63 w 81"/>
                      <a:gd name="T5" fmla="*/ 0 h 184"/>
                      <a:gd name="T6" fmla="*/ 81 w 81"/>
                      <a:gd name="T7" fmla="*/ 17 h 184"/>
                      <a:gd name="T8" fmla="*/ 81 w 81"/>
                      <a:gd name="T9" fmla="*/ 167 h 184"/>
                      <a:gd name="T10" fmla="*/ 63 w 81"/>
                      <a:gd name="T11" fmla="*/ 184 h 184"/>
                      <a:gd name="T12" fmla="*/ 18 w 81"/>
                      <a:gd name="T13" fmla="*/ 184 h 184"/>
                      <a:gd name="T14" fmla="*/ 0 w 81"/>
                      <a:gd name="T15" fmla="*/ 167 h 184"/>
                      <a:gd name="T16" fmla="*/ 0 w 81"/>
                      <a:gd name="T17" fmla="*/ 1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184">
                        <a:moveTo>
                          <a:pt x="0" y="17"/>
                        </a:moveTo>
                        <a:cubicBezTo>
                          <a:pt x="0" y="8"/>
                          <a:pt x="8" y="0"/>
                          <a:pt x="18" y="0"/>
                        </a:cubicBezTo>
                        <a:cubicBezTo>
                          <a:pt x="63" y="0"/>
                          <a:pt x="63" y="0"/>
                          <a:pt x="63" y="0"/>
                        </a:cubicBezTo>
                        <a:cubicBezTo>
                          <a:pt x="73" y="0"/>
                          <a:pt x="81" y="8"/>
                          <a:pt x="81" y="17"/>
                        </a:cubicBezTo>
                        <a:cubicBezTo>
                          <a:pt x="81" y="167"/>
                          <a:pt x="81" y="167"/>
                          <a:pt x="81" y="167"/>
                        </a:cubicBezTo>
                        <a:cubicBezTo>
                          <a:pt x="81" y="176"/>
                          <a:pt x="73" y="184"/>
                          <a:pt x="63" y="184"/>
                        </a:cubicBezTo>
                        <a:cubicBezTo>
                          <a:pt x="18" y="184"/>
                          <a:pt x="18" y="184"/>
                          <a:pt x="18" y="184"/>
                        </a:cubicBezTo>
                        <a:cubicBezTo>
                          <a:pt x="8" y="184"/>
                          <a:pt x="0" y="176"/>
                          <a:pt x="0" y="167"/>
                        </a:cubicBezTo>
                        <a:cubicBezTo>
                          <a:pt x="0" y="17"/>
                          <a:pt x="0" y="17"/>
                          <a:pt x="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noProof="1"/>
                  </a:p>
                </p:txBody>
              </p:sp>
            </p:grpSp>
          </p:grpSp>
        </p:grpSp>
      </p:grpSp>
      <p:grpSp>
        <p:nvGrpSpPr>
          <p:cNvPr id="17" name="Group 193"/>
          <p:cNvGrpSpPr/>
          <p:nvPr/>
        </p:nvGrpSpPr>
        <p:grpSpPr>
          <a:xfrm>
            <a:off x="576287" y="2736354"/>
            <a:ext cx="916305" cy="981455"/>
            <a:chOff x="3697599" y="3780376"/>
            <a:chExt cx="916305" cy="981455"/>
          </a:xfrm>
        </p:grpSpPr>
        <p:sp>
          <p:nvSpPr>
            <p:cNvPr id="18" name="Freeform 7"/>
            <p:cNvSpPr>
              <a:spLocks/>
            </p:cNvSpPr>
            <p:nvPr/>
          </p:nvSpPr>
          <p:spPr bwMode="auto">
            <a:xfrm>
              <a:off x="3697599" y="3780376"/>
              <a:ext cx="916305" cy="370708"/>
            </a:xfrm>
            <a:prstGeom prst="rect">
              <a:avLst/>
            </a:prstGeom>
            <a:solidFill>
              <a:schemeClr val="bg1"/>
            </a:solidFill>
            <a:ln w="9525" algn="ctr">
              <a:noFill/>
              <a:miter lim="800000"/>
              <a:headEnd type="none" w="lg" len="lg"/>
              <a:tailEnd type="none" w="lg" len="lg"/>
            </a:ln>
          </p:spPr>
          <p:txBody>
            <a:bodyPr lIns="0" tIns="0" rIns="0" bIns="0" anchor="ctr"/>
            <a:lstStyle/>
            <a:p>
              <a:pPr algn="ctr" defTabSz="1040767">
                <a:lnSpc>
                  <a:spcPct val="90000"/>
                </a:lnSpc>
              </a:pPr>
              <a:r>
                <a:rPr lang="fr-FR" sz="900" b="1" noProof="1">
                  <a:solidFill>
                    <a:schemeClr val="tx2"/>
                  </a:solidFill>
                  <a:ea typeface="ヒラギノ角ゴ Pro W3"/>
                  <a:cs typeface="ヒラギノ角ゴ Pro W3"/>
                </a:rPr>
                <a:t>Safe technology </a:t>
              </a:r>
            </a:p>
          </p:txBody>
        </p:sp>
        <p:grpSp>
          <p:nvGrpSpPr>
            <p:cNvPr id="19" name="Group 9"/>
            <p:cNvGrpSpPr/>
            <p:nvPr/>
          </p:nvGrpSpPr>
          <p:grpSpPr>
            <a:xfrm>
              <a:off x="3867720" y="4185767"/>
              <a:ext cx="576064" cy="576064"/>
              <a:chOff x="3867719" y="4185767"/>
              <a:chExt cx="576064" cy="576064"/>
            </a:xfrm>
          </p:grpSpPr>
          <p:sp>
            <p:nvSpPr>
              <p:cNvPr id="20" name="Rectangle 19"/>
              <p:cNvSpPr/>
              <p:nvPr/>
            </p:nvSpPr>
            <p:spPr>
              <a:xfrm>
                <a:off x="3867719" y="4185767"/>
                <a:ext cx="576064" cy="57606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21" name="Group 347"/>
              <p:cNvGrpSpPr/>
              <p:nvPr/>
            </p:nvGrpSpPr>
            <p:grpSpPr>
              <a:xfrm>
                <a:off x="3903110" y="4273425"/>
                <a:ext cx="505282" cy="400748"/>
                <a:chOff x="3170155" y="3433012"/>
                <a:chExt cx="383229" cy="303946"/>
              </a:xfrm>
              <a:solidFill>
                <a:schemeClr val="bg1"/>
              </a:solidFill>
            </p:grpSpPr>
            <p:grpSp>
              <p:nvGrpSpPr>
                <p:cNvPr id="22" name="Group 348"/>
                <p:cNvGrpSpPr/>
                <p:nvPr/>
              </p:nvGrpSpPr>
              <p:grpSpPr>
                <a:xfrm rot="18522957" flipH="1">
                  <a:off x="3190794" y="3470893"/>
                  <a:ext cx="224838" cy="266116"/>
                  <a:chOff x="-7048496" y="3186111"/>
                  <a:chExt cx="735009" cy="869952"/>
                </a:xfrm>
                <a:grpFill/>
              </p:grpSpPr>
              <p:sp>
                <p:nvSpPr>
                  <p:cNvPr id="26" name="Freeform 44"/>
                  <p:cNvSpPr>
                    <a:spLocks noEditPoints="1"/>
                  </p:cNvSpPr>
                  <p:nvPr/>
                </p:nvSpPr>
                <p:spPr bwMode="auto">
                  <a:xfrm>
                    <a:off x="-7048496" y="3186111"/>
                    <a:ext cx="630238" cy="633413"/>
                  </a:xfrm>
                  <a:custGeom>
                    <a:avLst/>
                    <a:gdLst>
                      <a:gd name="T0" fmla="*/ 115 w 168"/>
                      <a:gd name="T1" fmla="*/ 140 h 169"/>
                      <a:gd name="T2" fmla="*/ 142 w 168"/>
                      <a:gd name="T3" fmla="*/ 147 h 169"/>
                      <a:gd name="T4" fmla="*/ 146 w 168"/>
                      <a:gd name="T5" fmla="*/ 143 h 169"/>
                      <a:gd name="T6" fmla="*/ 139 w 168"/>
                      <a:gd name="T7" fmla="*/ 116 h 169"/>
                      <a:gd name="T8" fmla="*/ 146 w 168"/>
                      <a:gd name="T9" fmla="*/ 102 h 169"/>
                      <a:gd name="T10" fmla="*/ 168 w 168"/>
                      <a:gd name="T11" fmla="*/ 87 h 169"/>
                      <a:gd name="T12" fmla="*/ 168 w 168"/>
                      <a:gd name="T13" fmla="*/ 82 h 169"/>
                      <a:gd name="T14" fmla="*/ 146 w 168"/>
                      <a:gd name="T15" fmla="*/ 67 h 169"/>
                      <a:gd name="T16" fmla="*/ 139 w 168"/>
                      <a:gd name="T17" fmla="*/ 54 h 169"/>
                      <a:gd name="T18" fmla="*/ 146 w 168"/>
                      <a:gd name="T19" fmla="*/ 27 h 169"/>
                      <a:gd name="T20" fmla="*/ 142 w 168"/>
                      <a:gd name="T21" fmla="*/ 22 h 169"/>
                      <a:gd name="T22" fmla="*/ 115 w 168"/>
                      <a:gd name="T23" fmla="*/ 29 h 169"/>
                      <a:gd name="T24" fmla="*/ 102 w 168"/>
                      <a:gd name="T25" fmla="*/ 22 h 169"/>
                      <a:gd name="T26" fmla="*/ 86 w 168"/>
                      <a:gd name="T27" fmla="*/ 0 h 169"/>
                      <a:gd name="T28" fmla="*/ 82 w 168"/>
                      <a:gd name="T29" fmla="*/ 0 h 169"/>
                      <a:gd name="T30" fmla="*/ 66 w 168"/>
                      <a:gd name="T31" fmla="*/ 22 h 169"/>
                      <a:gd name="T32" fmla="*/ 53 w 168"/>
                      <a:gd name="T33" fmla="*/ 29 h 169"/>
                      <a:gd name="T34" fmla="*/ 26 w 168"/>
                      <a:gd name="T35" fmla="*/ 22 h 169"/>
                      <a:gd name="T36" fmla="*/ 22 w 168"/>
                      <a:gd name="T37" fmla="*/ 27 h 169"/>
                      <a:gd name="T38" fmla="*/ 28 w 168"/>
                      <a:gd name="T39" fmla="*/ 54 h 169"/>
                      <a:gd name="T40" fmla="*/ 22 w 168"/>
                      <a:gd name="T41" fmla="*/ 67 h 169"/>
                      <a:gd name="T42" fmla="*/ 0 w 168"/>
                      <a:gd name="T43" fmla="*/ 82 h 169"/>
                      <a:gd name="T44" fmla="*/ 0 w 168"/>
                      <a:gd name="T45" fmla="*/ 87 h 169"/>
                      <a:gd name="T46" fmla="*/ 22 w 168"/>
                      <a:gd name="T47" fmla="*/ 102 h 169"/>
                      <a:gd name="T48" fmla="*/ 28 w 168"/>
                      <a:gd name="T49" fmla="*/ 116 h 169"/>
                      <a:gd name="T50" fmla="*/ 22 w 168"/>
                      <a:gd name="T51" fmla="*/ 143 h 169"/>
                      <a:gd name="T52" fmla="*/ 26 w 168"/>
                      <a:gd name="T53" fmla="*/ 145 h 169"/>
                      <a:gd name="T54" fmla="*/ 52 w 168"/>
                      <a:gd name="T55" fmla="*/ 141 h 169"/>
                      <a:gd name="T56" fmla="*/ 52 w 168"/>
                      <a:gd name="T57" fmla="*/ 141 h 169"/>
                      <a:gd name="T58" fmla="*/ 66 w 168"/>
                      <a:gd name="T59" fmla="*/ 147 h 169"/>
                      <a:gd name="T60" fmla="*/ 82 w 168"/>
                      <a:gd name="T61" fmla="*/ 169 h 169"/>
                      <a:gd name="T62" fmla="*/ 86 w 168"/>
                      <a:gd name="T63" fmla="*/ 169 h 169"/>
                      <a:gd name="T64" fmla="*/ 102 w 168"/>
                      <a:gd name="T65" fmla="*/ 147 h 169"/>
                      <a:gd name="T66" fmla="*/ 115 w 168"/>
                      <a:gd name="T67" fmla="*/ 140 h 169"/>
                      <a:gd name="T68" fmla="*/ 84 w 168"/>
                      <a:gd name="T69" fmla="*/ 116 h 169"/>
                      <a:gd name="T70" fmla="*/ 53 w 168"/>
                      <a:gd name="T71" fmla="*/ 85 h 169"/>
                      <a:gd name="T72" fmla="*/ 84 w 168"/>
                      <a:gd name="T73" fmla="*/ 54 h 169"/>
                      <a:gd name="T74" fmla="*/ 115 w 168"/>
                      <a:gd name="T75" fmla="*/ 85 h 169"/>
                      <a:gd name="T76" fmla="*/ 84 w 168"/>
                      <a:gd name="T77" fmla="*/ 11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8" h="169">
                        <a:moveTo>
                          <a:pt x="115" y="140"/>
                        </a:moveTo>
                        <a:cubicBezTo>
                          <a:pt x="120" y="143"/>
                          <a:pt x="135" y="154"/>
                          <a:pt x="142" y="147"/>
                        </a:cubicBezTo>
                        <a:cubicBezTo>
                          <a:pt x="146" y="143"/>
                          <a:pt x="146" y="143"/>
                          <a:pt x="146" y="143"/>
                        </a:cubicBezTo>
                        <a:cubicBezTo>
                          <a:pt x="153" y="134"/>
                          <a:pt x="139" y="116"/>
                          <a:pt x="139" y="116"/>
                        </a:cubicBezTo>
                        <a:cubicBezTo>
                          <a:pt x="142" y="111"/>
                          <a:pt x="144" y="107"/>
                          <a:pt x="146" y="102"/>
                        </a:cubicBezTo>
                        <a:cubicBezTo>
                          <a:pt x="151" y="100"/>
                          <a:pt x="168" y="96"/>
                          <a:pt x="168" y="87"/>
                        </a:cubicBezTo>
                        <a:cubicBezTo>
                          <a:pt x="168" y="82"/>
                          <a:pt x="168" y="82"/>
                          <a:pt x="168" y="82"/>
                        </a:cubicBezTo>
                        <a:cubicBezTo>
                          <a:pt x="168" y="71"/>
                          <a:pt x="146" y="67"/>
                          <a:pt x="146" y="67"/>
                        </a:cubicBezTo>
                        <a:cubicBezTo>
                          <a:pt x="144" y="62"/>
                          <a:pt x="142" y="58"/>
                          <a:pt x="139" y="54"/>
                        </a:cubicBezTo>
                        <a:cubicBezTo>
                          <a:pt x="142" y="49"/>
                          <a:pt x="153" y="34"/>
                          <a:pt x="146" y="27"/>
                        </a:cubicBezTo>
                        <a:cubicBezTo>
                          <a:pt x="142" y="22"/>
                          <a:pt x="142" y="22"/>
                          <a:pt x="142" y="22"/>
                        </a:cubicBezTo>
                        <a:cubicBezTo>
                          <a:pt x="135" y="16"/>
                          <a:pt x="120" y="27"/>
                          <a:pt x="115" y="29"/>
                        </a:cubicBezTo>
                        <a:cubicBezTo>
                          <a:pt x="111" y="27"/>
                          <a:pt x="106" y="25"/>
                          <a:pt x="102" y="22"/>
                        </a:cubicBezTo>
                        <a:cubicBezTo>
                          <a:pt x="100" y="18"/>
                          <a:pt x="95" y="0"/>
                          <a:pt x="86" y="0"/>
                        </a:cubicBezTo>
                        <a:cubicBezTo>
                          <a:pt x="82" y="0"/>
                          <a:pt x="82" y="0"/>
                          <a:pt x="82" y="0"/>
                        </a:cubicBezTo>
                        <a:cubicBezTo>
                          <a:pt x="73" y="0"/>
                          <a:pt x="68" y="18"/>
                          <a:pt x="66" y="22"/>
                        </a:cubicBezTo>
                        <a:cubicBezTo>
                          <a:pt x="62" y="25"/>
                          <a:pt x="57" y="27"/>
                          <a:pt x="53" y="29"/>
                        </a:cubicBezTo>
                        <a:cubicBezTo>
                          <a:pt x="48" y="27"/>
                          <a:pt x="33" y="16"/>
                          <a:pt x="26" y="22"/>
                        </a:cubicBezTo>
                        <a:cubicBezTo>
                          <a:pt x="22" y="27"/>
                          <a:pt x="22" y="27"/>
                          <a:pt x="22" y="27"/>
                        </a:cubicBezTo>
                        <a:cubicBezTo>
                          <a:pt x="15" y="34"/>
                          <a:pt x="26" y="51"/>
                          <a:pt x="28" y="54"/>
                        </a:cubicBezTo>
                        <a:cubicBezTo>
                          <a:pt x="26" y="58"/>
                          <a:pt x="24" y="62"/>
                          <a:pt x="22" y="67"/>
                        </a:cubicBezTo>
                        <a:cubicBezTo>
                          <a:pt x="20" y="67"/>
                          <a:pt x="0" y="71"/>
                          <a:pt x="0" y="82"/>
                        </a:cubicBezTo>
                        <a:cubicBezTo>
                          <a:pt x="0" y="87"/>
                          <a:pt x="0" y="87"/>
                          <a:pt x="0" y="87"/>
                        </a:cubicBezTo>
                        <a:cubicBezTo>
                          <a:pt x="0" y="96"/>
                          <a:pt x="20" y="100"/>
                          <a:pt x="22" y="102"/>
                        </a:cubicBezTo>
                        <a:cubicBezTo>
                          <a:pt x="24" y="107"/>
                          <a:pt x="26" y="111"/>
                          <a:pt x="28" y="116"/>
                        </a:cubicBezTo>
                        <a:cubicBezTo>
                          <a:pt x="26" y="118"/>
                          <a:pt x="15" y="136"/>
                          <a:pt x="22" y="143"/>
                        </a:cubicBezTo>
                        <a:cubicBezTo>
                          <a:pt x="26" y="145"/>
                          <a:pt x="26" y="145"/>
                          <a:pt x="26" y="145"/>
                        </a:cubicBezTo>
                        <a:cubicBezTo>
                          <a:pt x="34" y="152"/>
                          <a:pt x="48" y="143"/>
                          <a:pt x="52" y="141"/>
                        </a:cubicBezTo>
                        <a:cubicBezTo>
                          <a:pt x="52" y="141"/>
                          <a:pt x="53" y="141"/>
                          <a:pt x="52" y="141"/>
                        </a:cubicBezTo>
                        <a:cubicBezTo>
                          <a:pt x="56" y="143"/>
                          <a:pt x="62" y="145"/>
                          <a:pt x="66" y="147"/>
                        </a:cubicBezTo>
                        <a:cubicBezTo>
                          <a:pt x="68" y="149"/>
                          <a:pt x="73" y="169"/>
                          <a:pt x="82" y="169"/>
                        </a:cubicBezTo>
                        <a:cubicBezTo>
                          <a:pt x="86" y="169"/>
                          <a:pt x="86" y="169"/>
                          <a:pt x="86" y="169"/>
                        </a:cubicBezTo>
                        <a:cubicBezTo>
                          <a:pt x="97" y="169"/>
                          <a:pt x="102" y="147"/>
                          <a:pt x="102" y="147"/>
                        </a:cubicBezTo>
                        <a:cubicBezTo>
                          <a:pt x="100" y="147"/>
                          <a:pt x="111" y="143"/>
                          <a:pt x="115" y="140"/>
                        </a:cubicBezTo>
                        <a:close/>
                        <a:moveTo>
                          <a:pt x="84" y="116"/>
                        </a:moveTo>
                        <a:cubicBezTo>
                          <a:pt x="66" y="116"/>
                          <a:pt x="53" y="100"/>
                          <a:pt x="53" y="85"/>
                        </a:cubicBezTo>
                        <a:cubicBezTo>
                          <a:pt x="53" y="67"/>
                          <a:pt x="66" y="54"/>
                          <a:pt x="84" y="54"/>
                        </a:cubicBezTo>
                        <a:cubicBezTo>
                          <a:pt x="100" y="54"/>
                          <a:pt x="115" y="67"/>
                          <a:pt x="115" y="85"/>
                        </a:cubicBezTo>
                        <a:cubicBezTo>
                          <a:pt x="115" y="100"/>
                          <a:pt x="100" y="116"/>
                          <a:pt x="84"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900" noProof="1">
                      <a:solidFill>
                        <a:srgbClr val="333333"/>
                      </a:solidFill>
                    </a:endParaRPr>
                  </a:p>
                </p:txBody>
              </p:sp>
              <p:sp>
                <p:nvSpPr>
                  <p:cNvPr id="27" name="Freeform 45"/>
                  <p:cNvSpPr>
                    <a:spLocks noEditPoints="1"/>
                  </p:cNvSpPr>
                  <p:nvPr/>
                </p:nvSpPr>
                <p:spPr bwMode="auto">
                  <a:xfrm>
                    <a:off x="-6619875" y="3752850"/>
                    <a:ext cx="306388" cy="303213"/>
                  </a:xfrm>
                  <a:custGeom>
                    <a:avLst/>
                    <a:gdLst>
                      <a:gd name="T0" fmla="*/ 56 w 82"/>
                      <a:gd name="T1" fmla="*/ 67 h 81"/>
                      <a:gd name="T2" fmla="*/ 69 w 82"/>
                      <a:gd name="T3" fmla="*/ 71 h 81"/>
                      <a:gd name="T4" fmla="*/ 71 w 82"/>
                      <a:gd name="T5" fmla="*/ 68 h 81"/>
                      <a:gd name="T6" fmla="*/ 68 w 82"/>
                      <a:gd name="T7" fmla="*/ 56 h 81"/>
                      <a:gd name="T8" fmla="*/ 71 w 82"/>
                      <a:gd name="T9" fmla="*/ 49 h 81"/>
                      <a:gd name="T10" fmla="*/ 82 w 82"/>
                      <a:gd name="T11" fmla="*/ 42 h 81"/>
                      <a:gd name="T12" fmla="*/ 82 w 82"/>
                      <a:gd name="T13" fmla="*/ 39 h 81"/>
                      <a:gd name="T14" fmla="*/ 71 w 82"/>
                      <a:gd name="T15" fmla="*/ 32 h 81"/>
                      <a:gd name="T16" fmla="*/ 68 w 82"/>
                      <a:gd name="T17" fmla="*/ 25 h 81"/>
                      <a:gd name="T18" fmla="*/ 71 w 82"/>
                      <a:gd name="T19" fmla="*/ 12 h 81"/>
                      <a:gd name="T20" fmla="*/ 69 w 82"/>
                      <a:gd name="T21" fmla="*/ 10 h 81"/>
                      <a:gd name="T22" fmla="*/ 56 w 82"/>
                      <a:gd name="T23" fmla="*/ 14 h 81"/>
                      <a:gd name="T24" fmla="*/ 50 w 82"/>
                      <a:gd name="T25" fmla="*/ 10 h 81"/>
                      <a:gd name="T26" fmla="*/ 42 w 82"/>
                      <a:gd name="T27" fmla="*/ 0 h 81"/>
                      <a:gd name="T28" fmla="*/ 40 w 82"/>
                      <a:gd name="T29" fmla="*/ 0 h 81"/>
                      <a:gd name="T30" fmla="*/ 32 w 82"/>
                      <a:gd name="T31" fmla="*/ 10 h 81"/>
                      <a:gd name="T32" fmla="*/ 26 w 82"/>
                      <a:gd name="T33" fmla="*/ 14 h 81"/>
                      <a:gd name="T34" fmla="*/ 13 w 82"/>
                      <a:gd name="T35" fmla="*/ 10 h 81"/>
                      <a:gd name="T36" fmla="*/ 11 w 82"/>
                      <a:gd name="T37" fmla="*/ 12 h 81"/>
                      <a:gd name="T38" fmla="*/ 14 w 82"/>
                      <a:gd name="T39" fmla="*/ 25 h 81"/>
                      <a:gd name="T40" fmla="*/ 11 w 82"/>
                      <a:gd name="T41" fmla="*/ 32 h 81"/>
                      <a:gd name="T42" fmla="*/ 0 w 82"/>
                      <a:gd name="T43" fmla="*/ 39 h 81"/>
                      <a:gd name="T44" fmla="*/ 0 w 82"/>
                      <a:gd name="T45" fmla="*/ 42 h 81"/>
                      <a:gd name="T46" fmla="*/ 11 w 82"/>
                      <a:gd name="T47" fmla="*/ 49 h 81"/>
                      <a:gd name="T48" fmla="*/ 14 w 82"/>
                      <a:gd name="T49" fmla="*/ 56 h 81"/>
                      <a:gd name="T50" fmla="*/ 11 w 82"/>
                      <a:gd name="T51" fmla="*/ 68 h 81"/>
                      <a:gd name="T52" fmla="*/ 13 w 82"/>
                      <a:gd name="T53" fmla="*/ 70 h 81"/>
                      <a:gd name="T54" fmla="*/ 26 w 82"/>
                      <a:gd name="T55" fmla="*/ 68 h 81"/>
                      <a:gd name="T56" fmla="*/ 26 w 82"/>
                      <a:gd name="T57" fmla="*/ 68 h 81"/>
                      <a:gd name="T58" fmla="*/ 32 w 82"/>
                      <a:gd name="T59" fmla="*/ 71 h 81"/>
                      <a:gd name="T60" fmla="*/ 40 w 82"/>
                      <a:gd name="T61" fmla="*/ 81 h 81"/>
                      <a:gd name="T62" fmla="*/ 42 w 82"/>
                      <a:gd name="T63" fmla="*/ 81 h 81"/>
                      <a:gd name="T64" fmla="*/ 50 w 82"/>
                      <a:gd name="T65" fmla="*/ 71 h 81"/>
                      <a:gd name="T66" fmla="*/ 56 w 82"/>
                      <a:gd name="T67" fmla="*/ 67 h 81"/>
                      <a:gd name="T68" fmla="*/ 41 w 82"/>
                      <a:gd name="T69" fmla="*/ 56 h 81"/>
                      <a:gd name="T70" fmla="*/ 26 w 82"/>
                      <a:gd name="T71" fmla="*/ 40 h 81"/>
                      <a:gd name="T72" fmla="*/ 41 w 82"/>
                      <a:gd name="T73" fmla="*/ 25 h 81"/>
                      <a:gd name="T74" fmla="*/ 56 w 82"/>
                      <a:gd name="T75" fmla="*/ 40 h 81"/>
                      <a:gd name="T76" fmla="*/ 41 w 82"/>
                      <a:gd name="T77" fmla="*/ 56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2" h="81">
                        <a:moveTo>
                          <a:pt x="56" y="67"/>
                        </a:moveTo>
                        <a:cubicBezTo>
                          <a:pt x="58" y="68"/>
                          <a:pt x="66" y="74"/>
                          <a:pt x="69" y="71"/>
                        </a:cubicBezTo>
                        <a:cubicBezTo>
                          <a:pt x="71" y="68"/>
                          <a:pt x="71" y="68"/>
                          <a:pt x="71" y="68"/>
                        </a:cubicBezTo>
                        <a:cubicBezTo>
                          <a:pt x="74" y="64"/>
                          <a:pt x="68" y="56"/>
                          <a:pt x="68" y="56"/>
                        </a:cubicBezTo>
                        <a:cubicBezTo>
                          <a:pt x="69" y="53"/>
                          <a:pt x="70" y="51"/>
                          <a:pt x="71" y="49"/>
                        </a:cubicBezTo>
                        <a:cubicBezTo>
                          <a:pt x="73" y="48"/>
                          <a:pt x="82" y="46"/>
                          <a:pt x="82" y="42"/>
                        </a:cubicBezTo>
                        <a:cubicBezTo>
                          <a:pt x="82" y="39"/>
                          <a:pt x="82" y="39"/>
                          <a:pt x="82" y="39"/>
                        </a:cubicBezTo>
                        <a:cubicBezTo>
                          <a:pt x="82" y="34"/>
                          <a:pt x="71" y="32"/>
                          <a:pt x="71" y="32"/>
                        </a:cubicBezTo>
                        <a:cubicBezTo>
                          <a:pt x="70" y="30"/>
                          <a:pt x="69" y="28"/>
                          <a:pt x="68" y="25"/>
                        </a:cubicBezTo>
                        <a:cubicBezTo>
                          <a:pt x="69" y="23"/>
                          <a:pt x="74" y="16"/>
                          <a:pt x="71" y="12"/>
                        </a:cubicBezTo>
                        <a:cubicBezTo>
                          <a:pt x="69" y="10"/>
                          <a:pt x="69" y="10"/>
                          <a:pt x="69" y="10"/>
                        </a:cubicBezTo>
                        <a:cubicBezTo>
                          <a:pt x="66" y="7"/>
                          <a:pt x="58" y="12"/>
                          <a:pt x="56" y="14"/>
                        </a:cubicBezTo>
                        <a:cubicBezTo>
                          <a:pt x="54" y="12"/>
                          <a:pt x="52" y="11"/>
                          <a:pt x="50" y="10"/>
                        </a:cubicBezTo>
                        <a:cubicBezTo>
                          <a:pt x="49" y="8"/>
                          <a:pt x="46" y="0"/>
                          <a:pt x="42" y="0"/>
                        </a:cubicBezTo>
                        <a:cubicBezTo>
                          <a:pt x="40" y="0"/>
                          <a:pt x="40" y="0"/>
                          <a:pt x="40" y="0"/>
                        </a:cubicBezTo>
                        <a:cubicBezTo>
                          <a:pt x="36" y="0"/>
                          <a:pt x="34" y="8"/>
                          <a:pt x="32" y="10"/>
                        </a:cubicBezTo>
                        <a:cubicBezTo>
                          <a:pt x="30" y="11"/>
                          <a:pt x="28" y="12"/>
                          <a:pt x="26" y="14"/>
                        </a:cubicBezTo>
                        <a:cubicBezTo>
                          <a:pt x="24" y="12"/>
                          <a:pt x="16" y="7"/>
                          <a:pt x="13" y="10"/>
                        </a:cubicBezTo>
                        <a:cubicBezTo>
                          <a:pt x="11" y="12"/>
                          <a:pt x="11" y="12"/>
                          <a:pt x="11" y="12"/>
                        </a:cubicBezTo>
                        <a:cubicBezTo>
                          <a:pt x="8" y="16"/>
                          <a:pt x="13" y="24"/>
                          <a:pt x="14" y="25"/>
                        </a:cubicBezTo>
                        <a:cubicBezTo>
                          <a:pt x="13" y="28"/>
                          <a:pt x="12" y="30"/>
                          <a:pt x="11" y="32"/>
                        </a:cubicBezTo>
                        <a:cubicBezTo>
                          <a:pt x="10" y="32"/>
                          <a:pt x="0" y="34"/>
                          <a:pt x="0" y="39"/>
                        </a:cubicBezTo>
                        <a:cubicBezTo>
                          <a:pt x="0" y="42"/>
                          <a:pt x="0" y="42"/>
                          <a:pt x="0" y="42"/>
                        </a:cubicBezTo>
                        <a:cubicBezTo>
                          <a:pt x="0" y="46"/>
                          <a:pt x="10" y="48"/>
                          <a:pt x="11" y="49"/>
                        </a:cubicBezTo>
                        <a:cubicBezTo>
                          <a:pt x="12" y="51"/>
                          <a:pt x="13" y="53"/>
                          <a:pt x="14" y="56"/>
                        </a:cubicBezTo>
                        <a:cubicBezTo>
                          <a:pt x="13" y="57"/>
                          <a:pt x="8" y="65"/>
                          <a:pt x="11" y="68"/>
                        </a:cubicBezTo>
                        <a:cubicBezTo>
                          <a:pt x="13" y="70"/>
                          <a:pt x="13" y="70"/>
                          <a:pt x="13" y="70"/>
                        </a:cubicBezTo>
                        <a:cubicBezTo>
                          <a:pt x="17" y="73"/>
                          <a:pt x="24" y="69"/>
                          <a:pt x="26" y="68"/>
                        </a:cubicBezTo>
                        <a:cubicBezTo>
                          <a:pt x="25" y="68"/>
                          <a:pt x="26" y="68"/>
                          <a:pt x="26" y="68"/>
                        </a:cubicBezTo>
                        <a:cubicBezTo>
                          <a:pt x="28" y="69"/>
                          <a:pt x="30" y="70"/>
                          <a:pt x="32" y="71"/>
                        </a:cubicBezTo>
                        <a:cubicBezTo>
                          <a:pt x="34" y="72"/>
                          <a:pt x="36" y="81"/>
                          <a:pt x="40" y="81"/>
                        </a:cubicBezTo>
                        <a:cubicBezTo>
                          <a:pt x="42" y="81"/>
                          <a:pt x="42" y="81"/>
                          <a:pt x="42" y="81"/>
                        </a:cubicBezTo>
                        <a:cubicBezTo>
                          <a:pt x="47" y="81"/>
                          <a:pt x="50" y="71"/>
                          <a:pt x="50" y="71"/>
                        </a:cubicBezTo>
                        <a:cubicBezTo>
                          <a:pt x="49" y="71"/>
                          <a:pt x="54" y="68"/>
                          <a:pt x="56" y="67"/>
                        </a:cubicBezTo>
                        <a:close/>
                        <a:moveTo>
                          <a:pt x="41" y="56"/>
                        </a:moveTo>
                        <a:cubicBezTo>
                          <a:pt x="32" y="56"/>
                          <a:pt x="26" y="48"/>
                          <a:pt x="26" y="40"/>
                        </a:cubicBezTo>
                        <a:cubicBezTo>
                          <a:pt x="26" y="32"/>
                          <a:pt x="32" y="25"/>
                          <a:pt x="41" y="25"/>
                        </a:cubicBezTo>
                        <a:cubicBezTo>
                          <a:pt x="49" y="25"/>
                          <a:pt x="56" y="32"/>
                          <a:pt x="56" y="40"/>
                        </a:cubicBezTo>
                        <a:cubicBezTo>
                          <a:pt x="56" y="48"/>
                          <a:pt x="49" y="56"/>
                          <a:pt x="41" y="56"/>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900" noProof="1">
                      <a:solidFill>
                        <a:srgbClr val="333333"/>
                      </a:solidFill>
                    </a:endParaRPr>
                  </a:p>
                </p:txBody>
              </p:sp>
            </p:grpSp>
            <p:grpSp>
              <p:nvGrpSpPr>
                <p:cNvPr id="23" name="Group 349"/>
                <p:cNvGrpSpPr/>
                <p:nvPr/>
              </p:nvGrpSpPr>
              <p:grpSpPr>
                <a:xfrm>
                  <a:off x="3374174" y="3433012"/>
                  <a:ext cx="179210" cy="303946"/>
                  <a:chOff x="3415189" y="3480010"/>
                  <a:chExt cx="188954" cy="320472"/>
                </a:xfrm>
                <a:grpFill/>
              </p:grpSpPr>
              <p:sp>
                <p:nvSpPr>
                  <p:cNvPr id="24" name="Freeform 68"/>
                  <p:cNvSpPr>
                    <a:spLocks/>
                  </p:cNvSpPr>
                  <p:nvPr/>
                </p:nvSpPr>
                <p:spPr bwMode="auto">
                  <a:xfrm>
                    <a:off x="3415189" y="3637171"/>
                    <a:ext cx="168943" cy="163311"/>
                  </a:xfrm>
                  <a:custGeom>
                    <a:avLst/>
                    <a:gdLst>
                      <a:gd name="T0" fmla="*/ 58 w 120"/>
                      <a:gd name="T1" fmla="*/ 116 h 116"/>
                      <a:gd name="T2" fmla="*/ 73 w 120"/>
                      <a:gd name="T3" fmla="*/ 101 h 116"/>
                      <a:gd name="T4" fmla="*/ 40 w 120"/>
                      <a:gd name="T5" fmla="*/ 68 h 116"/>
                      <a:gd name="T6" fmla="*/ 120 w 120"/>
                      <a:gd name="T7" fmla="*/ 68 h 116"/>
                      <a:gd name="T8" fmla="*/ 120 w 120"/>
                      <a:gd name="T9" fmla="*/ 48 h 116"/>
                      <a:gd name="T10" fmla="*/ 41 w 120"/>
                      <a:gd name="T11" fmla="*/ 48 h 116"/>
                      <a:gd name="T12" fmla="*/ 74 w 120"/>
                      <a:gd name="T13" fmla="*/ 15 h 116"/>
                      <a:gd name="T14" fmla="*/ 59 w 120"/>
                      <a:gd name="T15" fmla="*/ 0 h 116"/>
                      <a:gd name="T16" fmla="*/ 0 w 120"/>
                      <a:gd name="T17" fmla="*/ 58 h 116"/>
                      <a:gd name="T18" fmla="*/ 58 w 120"/>
                      <a:gd name="T19"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16">
                        <a:moveTo>
                          <a:pt x="58" y="116"/>
                        </a:moveTo>
                        <a:lnTo>
                          <a:pt x="73" y="101"/>
                        </a:lnTo>
                        <a:lnTo>
                          <a:pt x="40" y="68"/>
                        </a:lnTo>
                        <a:lnTo>
                          <a:pt x="120" y="68"/>
                        </a:lnTo>
                        <a:lnTo>
                          <a:pt x="120" y="48"/>
                        </a:lnTo>
                        <a:lnTo>
                          <a:pt x="41" y="48"/>
                        </a:lnTo>
                        <a:lnTo>
                          <a:pt x="74" y="15"/>
                        </a:lnTo>
                        <a:lnTo>
                          <a:pt x="59" y="0"/>
                        </a:lnTo>
                        <a:lnTo>
                          <a:pt x="0" y="58"/>
                        </a:lnTo>
                        <a:lnTo>
                          <a:pt x="58" y="116"/>
                        </a:lnTo>
                        <a:close/>
                      </a:path>
                    </a:pathLst>
                  </a:custGeom>
                  <a:grpFill/>
                  <a:ln>
                    <a:noFill/>
                  </a:ln>
                </p:spPr>
                <p:txBody>
                  <a:bodyPr vert="horz" wrap="square" lIns="91440" tIns="45720" rIns="91440" bIns="45720" numCol="1" anchor="t" anchorCtr="0" compatLnSpc="1">
                    <a:prstTxWarp prst="textNoShape">
                      <a:avLst/>
                    </a:prstTxWarp>
                  </a:bodyPr>
                  <a:lstStyle/>
                  <a:p>
                    <a:endParaRPr lang="en-US" sz="900" noProof="1">
                      <a:solidFill>
                        <a:srgbClr val="333333"/>
                      </a:solidFill>
                    </a:endParaRPr>
                  </a:p>
                </p:txBody>
              </p:sp>
              <p:sp>
                <p:nvSpPr>
                  <p:cNvPr id="25" name="Freeform 69"/>
                  <p:cNvSpPr>
                    <a:spLocks/>
                  </p:cNvSpPr>
                  <p:nvPr/>
                </p:nvSpPr>
                <p:spPr bwMode="auto">
                  <a:xfrm>
                    <a:off x="3433225" y="3480010"/>
                    <a:ext cx="170918" cy="165221"/>
                  </a:xfrm>
                  <a:custGeom>
                    <a:avLst/>
                    <a:gdLst>
                      <a:gd name="T0" fmla="*/ 62 w 120"/>
                      <a:gd name="T1" fmla="*/ 0 h 116"/>
                      <a:gd name="T2" fmla="*/ 47 w 120"/>
                      <a:gd name="T3" fmla="*/ 14 h 116"/>
                      <a:gd name="T4" fmla="*/ 80 w 120"/>
                      <a:gd name="T5" fmla="*/ 47 h 116"/>
                      <a:gd name="T6" fmla="*/ 0 w 120"/>
                      <a:gd name="T7" fmla="*/ 47 h 116"/>
                      <a:gd name="T8" fmla="*/ 0 w 120"/>
                      <a:gd name="T9" fmla="*/ 68 h 116"/>
                      <a:gd name="T10" fmla="*/ 79 w 120"/>
                      <a:gd name="T11" fmla="*/ 68 h 116"/>
                      <a:gd name="T12" fmla="*/ 47 w 120"/>
                      <a:gd name="T13" fmla="*/ 101 h 116"/>
                      <a:gd name="T14" fmla="*/ 61 w 120"/>
                      <a:gd name="T15" fmla="*/ 116 h 116"/>
                      <a:gd name="T16" fmla="*/ 120 w 120"/>
                      <a:gd name="T17" fmla="*/ 57 h 116"/>
                      <a:gd name="T18" fmla="*/ 62 w 120"/>
                      <a:gd name="T19"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16">
                        <a:moveTo>
                          <a:pt x="62" y="0"/>
                        </a:moveTo>
                        <a:lnTo>
                          <a:pt x="47" y="14"/>
                        </a:lnTo>
                        <a:lnTo>
                          <a:pt x="80" y="47"/>
                        </a:lnTo>
                        <a:lnTo>
                          <a:pt x="0" y="47"/>
                        </a:lnTo>
                        <a:lnTo>
                          <a:pt x="0" y="68"/>
                        </a:lnTo>
                        <a:lnTo>
                          <a:pt x="79" y="68"/>
                        </a:lnTo>
                        <a:lnTo>
                          <a:pt x="47" y="101"/>
                        </a:lnTo>
                        <a:lnTo>
                          <a:pt x="61" y="116"/>
                        </a:lnTo>
                        <a:lnTo>
                          <a:pt x="120" y="57"/>
                        </a:lnTo>
                        <a:lnTo>
                          <a:pt x="62"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900" noProof="1">
                      <a:solidFill>
                        <a:srgbClr val="333333"/>
                      </a:solidFill>
                    </a:endParaRPr>
                  </a:p>
                </p:txBody>
              </p:sp>
            </p:grpSp>
          </p:grpSp>
        </p:grpSp>
      </p:grpSp>
      <p:grpSp>
        <p:nvGrpSpPr>
          <p:cNvPr id="28" name="Group 207"/>
          <p:cNvGrpSpPr/>
          <p:nvPr/>
        </p:nvGrpSpPr>
        <p:grpSpPr>
          <a:xfrm>
            <a:off x="587535" y="4176514"/>
            <a:ext cx="916305" cy="981455"/>
            <a:chOff x="4722421" y="3780376"/>
            <a:chExt cx="916305" cy="981455"/>
          </a:xfrm>
        </p:grpSpPr>
        <p:sp>
          <p:nvSpPr>
            <p:cNvPr id="29" name="Freeform 7"/>
            <p:cNvSpPr>
              <a:spLocks/>
            </p:cNvSpPr>
            <p:nvPr/>
          </p:nvSpPr>
          <p:spPr bwMode="auto">
            <a:xfrm>
              <a:off x="4722421" y="3780376"/>
              <a:ext cx="916305" cy="370708"/>
            </a:xfrm>
            <a:prstGeom prst="rect">
              <a:avLst/>
            </a:prstGeom>
            <a:solidFill>
              <a:schemeClr val="bg1"/>
            </a:solidFill>
            <a:ln w="9525" algn="ctr">
              <a:noFill/>
              <a:miter lim="800000"/>
              <a:headEnd type="none" w="lg" len="lg"/>
              <a:tailEnd type="none" w="lg" len="lg"/>
            </a:ln>
          </p:spPr>
          <p:txBody>
            <a:bodyPr lIns="0" tIns="0" rIns="0" bIns="0" anchor="ctr"/>
            <a:lstStyle/>
            <a:p>
              <a:pPr algn="ctr" defTabSz="1040767">
                <a:lnSpc>
                  <a:spcPct val="90000"/>
                </a:lnSpc>
              </a:pPr>
              <a:r>
                <a:rPr lang="fr-FR" sz="900" b="1" noProof="1">
                  <a:solidFill>
                    <a:schemeClr val="tx2"/>
                  </a:solidFill>
                  <a:ea typeface="ヒラギノ角ゴ Pro W3"/>
                  <a:cs typeface="ヒラギノ角ゴ Pro W3"/>
                </a:rPr>
                <a:t>Investor register maintenance</a:t>
              </a:r>
            </a:p>
          </p:txBody>
        </p:sp>
        <p:grpSp>
          <p:nvGrpSpPr>
            <p:cNvPr id="30" name="Group 7"/>
            <p:cNvGrpSpPr/>
            <p:nvPr/>
          </p:nvGrpSpPr>
          <p:grpSpPr>
            <a:xfrm>
              <a:off x="4892542" y="4185767"/>
              <a:ext cx="576064" cy="576064"/>
              <a:chOff x="4892541" y="4185767"/>
              <a:chExt cx="576064" cy="576064"/>
            </a:xfrm>
          </p:grpSpPr>
          <p:sp>
            <p:nvSpPr>
              <p:cNvPr id="31" name="Rectangle 30"/>
              <p:cNvSpPr/>
              <p:nvPr/>
            </p:nvSpPr>
            <p:spPr>
              <a:xfrm>
                <a:off x="4892541" y="4185767"/>
                <a:ext cx="576064" cy="57606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32" name="Group 359"/>
              <p:cNvGrpSpPr/>
              <p:nvPr/>
            </p:nvGrpSpPr>
            <p:grpSpPr>
              <a:xfrm>
                <a:off x="4998735" y="4292326"/>
                <a:ext cx="363675" cy="362946"/>
                <a:chOff x="14335125" y="5213351"/>
                <a:chExt cx="793750" cy="792163"/>
              </a:xfrm>
              <a:solidFill>
                <a:schemeClr val="bg1"/>
              </a:solidFill>
            </p:grpSpPr>
            <p:sp>
              <p:nvSpPr>
                <p:cNvPr id="33" name="Oval 19"/>
                <p:cNvSpPr>
                  <a:spLocks noChangeArrowheads="1"/>
                </p:cNvSpPr>
                <p:nvPr/>
              </p:nvSpPr>
              <p:spPr bwMode="auto">
                <a:xfrm>
                  <a:off x="14458950" y="5367338"/>
                  <a:ext cx="261938" cy="328613"/>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noProof="1">
                    <a:solidFill>
                      <a:srgbClr val="333333"/>
                    </a:solidFill>
                  </a:endParaRPr>
                </a:p>
              </p:txBody>
            </p:sp>
            <p:sp>
              <p:nvSpPr>
                <p:cNvPr id="34" name="Freeform 20"/>
                <p:cNvSpPr>
                  <a:spLocks noEditPoints="1"/>
                </p:cNvSpPr>
                <p:nvPr/>
              </p:nvSpPr>
              <p:spPr bwMode="auto">
                <a:xfrm>
                  <a:off x="14335125" y="5715001"/>
                  <a:ext cx="498475" cy="290513"/>
                </a:xfrm>
                <a:custGeom>
                  <a:avLst/>
                  <a:gdLst>
                    <a:gd name="T0" fmla="*/ 158 w 188"/>
                    <a:gd name="T1" fmla="*/ 0 h 110"/>
                    <a:gd name="T2" fmla="*/ 141 w 188"/>
                    <a:gd name="T3" fmla="*/ 0 h 110"/>
                    <a:gd name="T4" fmla="*/ 97 w 188"/>
                    <a:gd name="T5" fmla="*/ 108 h 110"/>
                    <a:gd name="T6" fmla="*/ 52 w 188"/>
                    <a:gd name="T7" fmla="*/ 0 h 110"/>
                    <a:gd name="T8" fmla="*/ 30 w 188"/>
                    <a:gd name="T9" fmla="*/ 0 h 110"/>
                    <a:gd name="T10" fmla="*/ 0 w 188"/>
                    <a:gd name="T11" fmla="*/ 30 h 110"/>
                    <a:gd name="T12" fmla="*/ 0 w 188"/>
                    <a:gd name="T13" fmla="*/ 110 h 110"/>
                    <a:gd name="T14" fmla="*/ 188 w 188"/>
                    <a:gd name="T15" fmla="*/ 110 h 110"/>
                    <a:gd name="T16" fmla="*/ 188 w 188"/>
                    <a:gd name="T17" fmla="*/ 30 h 110"/>
                    <a:gd name="T18" fmla="*/ 158 w 188"/>
                    <a:gd name="T19" fmla="*/ 0 h 110"/>
                    <a:gd name="T20" fmla="*/ 176 w 188"/>
                    <a:gd name="T21" fmla="*/ 45 h 110"/>
                    <a:gd name="T22" fmla="*/ 140 w 188"/>
                    <a:gd name="T23" fmla="*/ 45 h 110"/>
                    <a:gd name="T24" fmla="*/ 140 w 188"/>
                    <a:gd name="T25" fmla="*/ 35 h 110"/>
                    <a:gd name="T26" fmla="*/ 176 w 188"/>
                    <a:gd name="T27" fmla="*/ 35 h 110"/>
                    <a:gd name="T28" fmla="*/ 176 w 188"/>
                    <a:gd name="T29" fmla="*/ 45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8" h="110">
                      <a:moveTo>
                        <a:pt x="158" y="0"/>
                      </a:moveTo>
                      <a:cubicBezTo>
                        <a:pt x="141" y="0"/>
                        <a:pt x="141" y="0"/>
                        <a:pt x="141" y="0"/>
                      </a:cubicBezTo>
                      <a:cubicBezTo>
                        <a:pt x="97" y="108"/>
                        <a:pt x="97" y="108"/>
                        <a:pt x="97" y="108"/>
                      </a:cubicBezTo>
                      <a:cubicBezTo>
                        <a:pt x="52" y="0"/>
                        <a:pt x="52" y="0"/>
                        <a:pt x="52" y="0"/>
                      </a:cubicBezTo>
                      <a:cubicBezTo>
                        <a:pt x="30" y="0"/>
                        <a:pt x="30" y="0"/>
                        <a:pt x="30" y="0"/>
                      </a:cubicBezTo>
                      <a:cubicBezTo>
                        <a:pt x="13" y="0"/>
                        <a:pt x="0" y="13"/>
                        <a:pt x="0" y="30"/>
                      </a:cubicBezTo>
                      <a:cubicBezTo>
                        <a:pt x="0" y="110"/>
                        <a:pt x="0" y="110"/>
                        <a:pt x="0" y="110"/>
                      </a:cubicBezTo>
                      <a:cubicBezTo>
                        <a:pt x="188" y="110"/>
                        <a:pt x="188" y="110"/>
                        <a:pt x="188" y="110"/>
                      </a:cubicBezTo>
                      <a:cubicBezTo>
                        <a:pt x="188" y="30"/>
                        <a:pt x="188" y="30"/>
                        <a:pt x="188" y="30"/>
                      </a:cubicBezTo>
                      <a:cubicBezTo>
                        <a:pt x="188" y="13"/>
                        <a:pt x="174" y="0"/>
                        <a:pt x="158" y="0"/>
                      </a:cubicBezTo>
                      <a:close/>
                      <a:moveTo>
                        <a:pt x="176" y="45"/>
                      </a:moveTo>
                      <a:cubicBezTo>
                        <a:pt x="140" y="45"/>
                        <a:pt x="140" y="45"/>
                        <a:pt x="140" y="45"/>
                      </a:cubicBezTo>
                      <a:cubicBezTo>
                        <a:pt x="140" y="35"/>
                        <a:pt x="140" y="35"/>
                        <a:pt x="140" y="35"/>
                      </a:cubicBezTo>
                      <a:cubicBezTo>
                        <a:pt x="176" y="35"/>
                        <a:pt x="176" y="35"/>
                        <a:pt x="176" y="35"/>
                      </a:cubicBezTo>
                      <a:lnTo>
                        <a:pt x="176" y="45"/>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1">
                    <a:solidFill>
                      <a:srgbClr val="333333"/>
                    </a:solidFill>
                  </a:endParaRPr>
                </a:p>
              </p:txBody>
            </p:sp>
            <p:sp>
              <p:nvSpPr>
                <p:cNvPr id="35" name="Freeform 21"/>
                <p:cNvSpPr>
                  <a:spLocks/>
                </p:cNvSpPr>
                <p:nvPr/>
              </p:nvSpPr>
              <p:spPr bwMode="auto">
                <a:xfrm>
                  <a:off x="14562138" y="5730876"/>
                  <a:ext cx="58738" cy="195263"/>
                </a:xfrm>
                <a:custGeom>
                  <a:avLst/>
                  <a:gdLst>
                    <a:gd name="T0" fmla="*/ 37 w 37"/>
                    <a:gd name="T1" fmla="*/ 21 h 123"/>
                    <a:gd name="T2" fmla="*/ 19 w 37"/>
                    <a:gd name="T3" fmla="*/ 0 h 123"/>
                    <a:gd name="T4" fmla="*/ 0 w 37"/>
                    <a:gd name="T5" fmla="*/ 21 h 123"/>
                    <a:gd name="T6" fmla="*/ 14 w 37"/>
                    <a:gd name="T7" fmla="*/ 21 h 123"/>
                    <a:gd name="T8" fmla="*/ 0 w 37"/>
                    <a:gd name="T9" fmla="*/ 76 h 123"/>
                    <a:gd name="T10" fmla="*/ 19 w 37"/>
                    <a:gd name="T11" fmla="*/ 123 h 123"/>
                    <a:gd name="T12" fmla="*/ 37 w 37"/>
                    <a:gd name="T13" fmla="*/ 76 h 123"/>
                    <a:gd name="T14" fmla="*/ 24 w 37"/>
                    <a:gd name="T15" fmla="*/ 21 h 123"/>
                    <a:gd name="T16" fmla="*/ 37 w 37"/>
                    <a:gd name="T17" fmla="*/ 21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123">
                      <a:moveTo>
                        <a:pt x="37" y="21"/>
                      </a:moveTo>
                      <a:lnTo>
                        <a:pt x="19" y="0"/>
                      </a:lnTo>
                      <a:lnTo>
                        <a:pt x="0" y="21"/>
                      </a:lnTo>
                      <a:lnTo>
                        <a:pt x="14" y="21"/>
                      </a:lnTo>
                      <a:lnTo>
                        <a:pt x="0" y="76"/>
                      </a:lnTo>
                      <a:lnTo>
                        <a:pt x="19" y="123"/>
                      </a:lnTo>
                      <a:lnTo>
                        <a:pt x="37" y="76"/>
                      </a:lnTo>
                      <a:lnTo>
                        <a:pt x="24" y="21"/>
                      </a:lnTo>
                      <a:lnTo>
                        <a:pt x="37" y="21"/>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1">
                    <a:solidFill>
                      <a:srgbClr val="333333"/>
                    </a:solidFill>
                  </a:endParaRPr>
                </a:p>
              </p:txBody>
            </p:sp>
            <p:sp>
              <p:nvSpPr>
                <p:cNvPr id="36" name="Freeform 118"/>
                <p:cNvSpPr>
                  <a:spLocks noEditPoints="1"/>
                </p:cNvSpPr>
                <p:nvPr/>
              </p:nvSpPr>
              <p:spPr bwMode="auto">
                <a:xfrm>
                  <a:off x="14620875" y="5213351"/>
                  <a:ext cx="508000" cy="498475"/>
                </a:xfrm>
                <a:custGeom>
                  <a:avLst/>
                  <a:gdLst>
                    <a:gd name="T0" fmla="*/ 0 w 192"/>
                    <a:gd name="T1" fmla="*/ 48 h 188"/>
                    <a:gd name="T2" fmla="*/ 12 w 192"/>
                    <a:gd name="T3" fmla="*/ 46 h 188"/>
                    <a:gd name="T4" fmla="*/ 43 w 192"/>
                    <a:gd name="T5" fmla="*/ 77 h 188"/>
                    <a:gd name="T6" fmla="*/ 42 w 192"/>
                    <a:gd name="T7" fmla="*/ 81 h 188"/>
                    <a:gd name="T8" fmla="*/ 43 w 192"/>
                    <a:gd name="T9" fmla="*/ 84 h 188"/>
                    <a:gd name="T10" fmla="*/ 47 w 192"/>
                    <a:gd name="T11" fmla="*/ 81 h 188"/>
                    <a:gd name="T12" fmla="*/ 78 w 192"/>
                    <a:gd name="T13" fmla="*/ 107 h 188"/>
                    <a:gd name="T14" fmla="*/ 49 w 192"/>
                    <a:gd name="T15" fmla="*/ 111 h 188"/>
                    <a:gd name="T16" fmla="*/ 78 w 192"/>
                    <a:gd name="T17" fmla="*/ 144 h 188"/>
                    <a:gd name="T18" fmla="*/ 50 w 192"/>
                    <a:gd name="T19" fmla="*/ 148 h 188"/>
                    <a:gd name="T20" fmla="*/ 78 w 192"/>
                    <a:gd name="T21" fmla="*/ 176 h 188"/>
                    <a:gd name="T22" fmla="*/ 50 w 192"/>
                    <a:gd name="T23" fmla="*/ 178 h 188"/>
                    <a:gd name="T24" fmla="*/ 192 w 192"/>
                    <a:gd name="T25" fmla="*/ 188 h 188"/>
                    <a:gd name="T26" fmla="*/ 0 w 192"/>
                    <a:gd name="T27" fmla="*/ 0 h 188"/>
                    <a:gd name="T28" fmla="*/ 12 w 192"/>
                    <a:gd name="T29" fmla="*/ 42 h 188"/>
                    <a:gd name="T30" fmla="*/ 43 w 192"/>
                    <a:gd name="T31" fmla="*/ 12 h 188"/>
                    <a:gd name="T32" fmla="*/ 78 w 192"/>
                    <a:gd name="T33" fmla="*/ 77 h 188"/>
                    <a:gd name="T34" fmla="*/ 47 w 192"/>
                    <a:gd name="T35" fmla="*/ 46 h 188"/>
                    <a:gd name="T36" fmla="*/ 78 w 192"/>
                    <a:gd name="T37" fmla="*/ 77 h 188"/>
                    <a:gd name="T38" fmla="*/ 47 w 192"/>
                    <a:gd name="T39" fmla="*/ 42 h 188"/>
                    <a:gd name="T40" fmla="*/ 78 w 192"/>
                    <a:gd name="T41" fmla="*/ 12 h 188"/>
                    <a:gd name="T42" fmla="*/ 108 w 192"/>
                    <a:gd name="T43" fmla="*/ 176 h 188"/>
                    <a:gd name="T44" fmla="*/ 82 w 192"/>
                    <a:gd name="T45" fmla="*/ 148 h 188"/>
                    <a:gd name="T46" fmla="*/ 108 w 192"/>
                    <a:gd name="T47" fmla="*/ 176 h 188"/>
                    <a:gd name="T48" fmla="*/ 82 w 192"/>
                    <a:gd name="T49" fmla="*/ 144 h 188"/>
                    <a:gd name="T50" fmla="*/ 108 w 192"/>
                    <a:gd name="T51" fmla="*/ 111 h 188"/>
                    <a:gd name="T52" fmla="*/ 108 w 192"/>
                    <a:gd name="T53" fmla="*/ 107 h 188"/>
                    <a:gd name="T54" fmla="*/ 82 w 192"/>
                    <a:gd name="T55" fmla="*/ 81 h 188"/>
                    <a:gd name="T56" fmla="*/ 108 w 192"/>
                    <a:gd name="T57" fmla="*/ 107 h 188"/>
                    <a:gd name="T58" fmla="*/ 82 w 192"/>
                    <a:gd name="T59" fmla="*/ 77 h 188"/>
                    <a:gd name="T60" fmla="*/ 108 w 192"/>
                    <a:gd name="T61" fmla="*/ 46 h 188"/>
                    <a:gd name="T62" fmla="*/ 108 w 192"/>
                    <a:gd name="T63" fmla="*/ 42 h 188"/>
                    <a:gd name="T64" fmla="*/ 82 w 192"/>
                    <a:gd name="T65" fmla="*/ 12 h 188"/>
                    <a:gd name="T66" fmla="*/ 108 w 192"/>
                    <a:gd name="T67" fmla="*/ 42 h 188"/>
                    <a:gd name="T68" fmla="*/ 112 w 192"/>
                    <a:gd name="T69" fmla="*/ 176 h 188"/>
                    <a:gd name="T70" fmla="*/ 145 w 192"/>
                    <a:gd name="T71" fmla="*/ 148 h 188"/>
                    <a:gd name="T72" fmla="*/ 145 w 192"/>
                    <a:gd name="T73" fmla="*/ 144 h 188"/>
                    <a:gd name="T74" fmla="*/ 112 w 192"/>
                    <a:gd name="T75" fmla="*/ 111 h 188"/>
                    <a:gd name="T76" fmla="*/ 145 w 192"/>
                    <a:gd name="T77" fmla="*/ 144 h 188"/>
                    <a:gd name="T78" fmla="*/ 112 w 192"/>
                    <a:gd name="T79" fmla="*/ 107 h 188"/>
                    <a:gd name="T80" fmla="*/ 145 w 192"/>
                    <a:gd name="T81" fmla="*/ 81 h 188"/>
                    <a:gd name="T82" fmla="*/ 145 w 192"/>
                    <a:gd name="T83" fmla="*/ 77 h 188"/>
                    <a:gd name="T84" fmla="*/ 112 w 192"/>
                    <a:gd name="T85" fmla="*/ 46 h 188"/>
                    <a:gd name="T86" fmla="*/ 145 w 192"/>
                    <a:gd name="T87" fmla="*/ 77 h 188"/>
                    <a:gd name="T88" fmla="*/ 112 w 192"/>
                    <a:gd name="T89" fmla="*/ 42 h 188"/>
                    <a:gd name="T90" fmla="*/ 145 w 192"/>
                    <a:gd name="T91" fmla="*/ 12 h 188"/>
                    <a:gd name="T92" fmla="*/ 180 w 192"/>
                    <a:gd name="T93" fmla="*/ 176 h 188"/>
                    <a:gd name="T94" fmla="*/ 149 w 192"/>
                    <a:gd name="T95" fmla="*/ 148 h 188"/>
                    <a:gd name="T96" fmla="*/ 180 w 192"/>
                    <a:gd name="T97" fmla="*/ 176 h 188"/>
                    <a:gd name="T98" fmla="*/ 149 w 192"/>
                    <a:gd name="T99" fmla="*/ 144 h 188"/>
                    <a:gd name="T100" fmla="*/ 180 w 192"/>
                    <a:gd name="T101" fmla="*/ 111 h 188"/>
                    <a:gd name="T102" fmla="*/ 180 w 192"/>
                    <a:gd name="T103" fmla="*/ 107 h 188"/>
                    <a:gd name="T104" fmla="*/ 149 w 192"/>
                    <a:gd name="T105" fmla="*/ 81 h 188"/>
                    <a:gd name="T106" fmla="*/ 180 w 192"/>
                    <a:gd name="T107" fmla="*/ 107 h 188"/>
                    <a:gd name="T108" fmla="*/ 149 w 192"/>
                    <a:gd name="T109" fmla="*/ 77 h 188"/>
                    <a:gd name="T110" fmla="*/ 180 w 192"/>
                    <a:gd name="T111" fmla="*/ 46 h 188"/>
                    <a:gd name="T112" fmla="*/ 180 w 192"/>
                    <a:gd name="T113" fmla="*/ 42 h 188"/>
                    <a:gd name="T114" fmla="*/ 149 w 192"/>
                    <a:gd name="T115" fmla="*/ 12 h 188"/>
                    <a:gd name="T116" fmla="*/ 180 w 192"/>
                    <a:gd name="T117" fmla="*/ 4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2" h="188">
                      <a:moveTo>
                        <a:pt x="0" y="0"/>
                      </a:moveTo>
                      <a:cubicBezTo>
                        <a:pt x="0" y="48"/>
                        <a:pt x="0" y="48"/>
                        <a:pt x="0" y="48"/>
                      </a:cubicBezTo>
                      <a:cubicBezTo>
                        <a:pt x="4" y="49"/>
                        <a:pt x="8" y="50"/>
                        <a:pt x="12" y="51"/>
                      </a:cubicBezTo>
                      <a:cubicBezTo>
                        <a:pt x="12" y="46"/>
                        <a:pt x="12" y="46"/>
                        <a:pt x="12" y="46"/>
                      </a:cubicBezTo>
                      <a:cubicBezTo>
                        <a:pt x="43" y="46"/>
                        <a:pt x="43" y="46"/>
                        <a:pt x="43" y="46"/>
                      </a:cubicBezTo>
                      <a:cubicBezTo>
                        <a:pt x="43" y="77"/>
                        <a:pt x="43" y="77"/>
                        <a:pt x="43" y="77"/>
                      </a:cubicBezTo>
                      <a:cubicBezTo>
                        <a:pt x="40" y="77"/>
                        <a:pt x="40" y="77"/>
                        <a:pt x="40" y="77"/>
                      </a:cubicBezTo>
                      <a:cubicBezTo>
                        <a:pt x="40" y="78"/>
                        <a:pt x="41" y="80"/>
                        <a:pt x="42" y="81"/>
                      </a:cubicBezTo>
                      <a:cubicBezTo>
                        <a:pt x="43" y="81"/>
                        <a:pt x="43" y="81"/>
                        <a:pt x="43" y="81"/>
                      </a:cubicBezTo>
                      <a:cubicBezTo>
                        <a:pt x="43" y="84"/>
                        <a:pt x="43" y="84"/>
                        <a:pt x="43" y="84"/>
                      </a:cubicBezTo>
                      <a:cubicBezTo>
                        <a:pt x="45" y="87"/>
                        <a:pt x="46" y="91"/>
                        <a:pt x="47" y="96"/>
                      </a:cubicBezTo>
                      <a:cubicBezTo>
                        <a:pt x="47" y="81"/>
                        <a:pt x="47" y="81"/>
                        <a:pt x="47" y="81"/>
                      </a:cubicBezTo>
                      <a:cubicBezTo>
                        <a:pt x="78" y="81"/>
                        <a:pt x="78" y="81"/>
                        <a:pt x="78" y="81"/>
                      </a:cubicBezTo>
                      <a:cubicBezTo>
                        <a:pt x="78" y="107"/>
                        <a:pt x="78" y="107"/>
                        <a:pt x="78" y="107"/>
                      </a:cubicBezTo>
                      <a:cubicBezTo>
                        <a:pt x="49" y="107"/>
                        <a:pt x="49" y="107"/>
                        <a:pt x="49" y="107"/>
                      </a:cubicBezTo>
                      <a:cubicBezTo>
                        <a:pt x="49" y="109"/>
                        <a:pt x="49" y="110"/>
                        <a:pt x="49" y="111"/>
                      </a:cubicBezTo>
                      <a:cubicBezTo>
                        <a:pt x="78" y="111"/>
                        <a:pt x="78" y="111"/>
                        <a:pt x="78" y="111"/>
                      </a:cubicBezTo>
                      <a:cubicBezTo>
                        <a:pt x="78" y="144"/>
                        <a:pt x="78" y="144"/>
                        <a:pt x="78" y="144"/>
                      </a:cubicBezTo>
                      <a:cubicBezTo>
                        <a:pt x="50" y="144"/>
                        <a:pt x="50" y="144"/>
                        <a:pt x="50" y="144"/>
                      </a:cubicBezTo>
                      <a:cubicBezTo>
                        <a:pt x="50" y="148"/>
                        <a:pt x="50" y="148"/>
                        <a:pt x="50" y="148"/>
                      </a:cubicBezTo>
                      <a:cubicBezTo>
                        <a:pt x="78" y="148"/>
                        <a:pt x="78" y="148"/>
                        <a:pt x="78" y="148"/>
                      </a:cubicBezTo>
                      <a:cubicBezTo>
                        <a:pt x="78" y="176"/>
                        <a:pt x="78" y="176"/>
                        <a:pt x="78" y="176"/>
                      </a:cubicBezTo>
                      <a:cubicBezTo>
                        <a:pt x="50" y="176"/>
                        <a:pt x="50" y="176"/>
                        <a:pt x="50" y="176"/>
                      </a:cubicBezTo>
                      <a:cubicBezTo>
                        <a:pt x="50" y="178"/>
                        <a:pt x="50" y="178"/>
                        <a:pt x="50" y="178"/>
                      </a:cubicBezTo>
                      <a:cubicBezTo>
                        <a:pt x="61" y="178"/>
                        <a:pt x="70" y="182"/>
                        <a:pt x="77" y="188"/>
                      </a:cubicBezTo>
                      <a:cubicBezTo>
                        <a:pt x="192" y="188"/>
                        <a:pt x="192" y="188"/>
                        <a:pt x="192" y="188"/>
                      </a:cubicBezTo>
                      <a:cubicBezTo>
                        <a:pt x="192" y="0"/>
                        <a:pt x="192" y="0"/>
                        <a:pt x="192" y="0"/>
                      </a:cubicBezTo>
                      <a:lnTo>
                        <a:pt x="0" y="0"/>
                      </a:lnTo>
                      <a:close/>
                      <a:moveTo>
                        <a:pt x="43" y="42"/>
                      </a:moveTo>
                      <a:cubicBezTo>
                        <a:pt x="12" y="42"/>
                        <a:pt x="12" y="42"/>
                        <a:pt x="12" y="42"/>
                      </a:cubicBezTo>
                      <a:cubicBezTo>
                        <a:pt x="12" y="12"/>
                        <a:pt x="12" y="12"/>
                        <a:pt x="12" y="12"/>
                      </a:cubicBezTo>
                      <a:cubicBezTo>
                        <a:pt x="43" y="12"/>
                        <a:pt x="43" y="12"/>
                        <a:pt x="43" y="12"/>
                      </a:cubicBezTo>
                      <a:lnTo>
                        <a:pt x="43" y="42"/>
                      </a:lnTo>
                      <a:close/>
                      <a:moveTo>
                        <a:pt x="78" y="77"/>
                      </a:moveTo>
                      <a:cubicBezTo>
                        <a:pt x="47" y="77"/>
                        <a:pt x="47" y="77"/>
                        <a:pt x="47" y="77"/>
                      </a:cubicBezTo>
                      <a:cubicBezTo>
                        <a:pt x="47" y="46"/>
                        <a:pt x="47" y="46"/>
                        <a:pt x="47" y="46"/>
                      </a:cubicBezTo>
                      <a:cubicBezTo>
                        <a:pt x="78" y="46"/>
                        <a:pt x="78" y="46"/>
                        <a:pt x="78" y="46"/>
                      </a:cubicBezTo>
                      <a:lnTo>
                        <a:pt x="78" y="77"/>
                      </a:lnTo>
                      <a:close/>
                      <a:moveTo>
                        <a:pt x="78" y="42"/>
                      </a:moveTo>
                      <a:cubicBezTo>
                        <a:pt x="47" y="42"/>
                        <a:pt x="47" y="42"/>
                        <a:pt x="47" y="42"/>
                      </a:cubicBezTo>
                      <a:cubicBezTo>
                        <a:pt x="47" y="12"/>
                        <a:pt x="47" y="12"/>
                        <a:pt x="47" y="12"/>
                      </a:cubicBezTo>
                      <a:cubicBezTo>
                        <a:pt x="78" y="12"/>
                        <a:pt x="78" y="12"/>
                        <a:pt x="78" y="12"/>
                      </a:cubicBezTo>
                      <a:lnTo>
                        <a:pt x="78" y="42"/>
                      </a:lnTo>
                      <a:close/>
                      <a:moveTo>
                        <a:pt x="108" y="176"/>
                      </a:moveTo>
                      <a:cubicBezTo>
                        <a:pt x="82" y="176"/>
                        <a:pt x="82" y="176"/>
                        <a:pt x="82" y="176"/>
                      </a:cubicBezTo>
                      <a:cubicBezTo>
                        <a:pt x="82" y="148"/>
                        <a:pt x="82" y="148"/>
                        <a:pt x="82" y="148"/>
                      </a:cubicBezTo>
                      <a:cubicBezTo>
                        <a:pt x="108" y="148"/>
                        <a:pt x="108" y="148"/>
                        <a:pt x="108" y="148"/>
                      </a:cubicBezTo>
                      <a:lnTo>
                        <a:pt x="108" y="176"/>
                      </a:lnTo>
                      <a:close/>
                      <a:moveTo>
                        <a:pt x="108" y="144"/>
                      </a:moveTo>
                      <a:cubicBezTo>
                        <a:pt x="82" y="144"/>
                        <a:pt x="82" y="144"/>
                        <a:pt x="82" y="144"/>
                      </a:cubicBezTo>
                      <a:cubicBezTo>
                        <a:pt x="82" y="111"/>
                        <a:pt x="82" y="111"/>
                        <a:pt x="82" y="111"/>
                      </a:cubicBezTo>
                      <a:cubicBezTo>
                        <a:pt x="108" y="111"/>
                        <a:pt x="108" y="111"/>
                        <a:pt x="108" y="111"/>
                      </a:cubicBezTo>
                      <a:lnTo>
                        <a:pt x="108" y="144"/>
                      </a:lnTo>
                      <a:close/>
                      <a:moveTo>
                        <a:pt x="108" y="107"/>
                      </a:moveTo>
                      <a:cubicBezTo>
                        <a:pt x="82" y="107"/>
                        <a:pt x="82" y="107"/>
                        <a:pt x="82" y="107"/>
                      </a:cubicBezTo>
                      <a:cubicBezTo>
                        <a:pt x="82" y="81"/>
                        <a:pt x="82" y="81"/>
                        <a:pt x="82" y="81"/>
                      </a:cubicBezTo>
                      <a:cubicBezTo>
                        <a:pt x="108" y="81"/>
                        <a:pt x="108" y="81"/>
                        <a:pt x="108" y="81"/>
                      </a:cubicBezTo>
                      <a:lnTo>
                        <a:pt x="108" y="107"/>
                      </a:lnTo>
                      <a:close/>
                      <a:moveTo>
                        <a:pt x="108" y="77"/>
                      </a:moveTo>
                      <a:cubicBezTo>
                        <a:pt x="82" y="77"/>
                        <a:pt x="82" y="77"/>
                        <a:pt x="82" y="77"/>
                      </a:cubicBezTo>
                      <a:cubicBezTo>
                        <a:pt x="82" y="46"/>
                        <a:pt x="82" y="46"/>
                        <a:pt x="82" y="46"/>
                      </a:cubicBezTo>
                      <a:cubicBezTo>
                        <a:pt x="108" y="46"/>
                        <a:pt x="108" y="46"/>
                        <a:pt x="108" y="46"/>
                      </a:cubicBezTo>
                      <a:lnTo>
                        <a:pt x="108" y="77"/>
                      </a:lnTo>
                      <a:close/>
                      <a:moveTo>
                        <a:pt x="108" y="42"/>
                      </a:moveTo>
                      <a:cubicBezTo>
                        <a:pt x="82" y="42"/>
                        <a:pt x="82" y="42"/>
                        <a:pt x="82" y="42"/>
                      </a:cubicBezTo>
                      <a:cubicBezTo>
                        <a:pt x="82" y="12"/>
                        <a:pt x="82" y="12"/>
                        <a:pt x="82" y="12"/>
                      </a:cubicBezTo>
                      <a:cubicBezTo>
                        <a:pt x="108" y="12"/>
                        <a:pt x="108" y="12"/>
                        <a:pt x="108" y="12"/>
                      </a:cubicBezTo>
                      <a:lnTo>
                        <a:pt x="108" y="42"/>
                      </a:lnTo>
                      <a:close/>
                      <a:moveTo>
                        <a:pt x="145" y="176"/>
                      </a:moveTo>
                      <a:cubicBezTo>
                        <a:pt x="112" y="176"/>
                        <a:pt x="112" y="176"/>
                        <a:pt x="112" y="176"/>
                      </a:cubicBezTo>
                      <a:cubicBezTo>
                        <a:pt x="112" y="148"/>
                        <a:pt x="112" y="148"/>
                        <a:pt x="112" y="148"/>
                      </a:cubicBezTo>
                      <a:cubicBezTo>
                        <a:pt x="145" y="148"/>
                        <a:pt x="145" y="148"/>
                        <a:pt x="145" y="148"/>
                      </a:cubicBezTo>
                      <a:lnTo>
                        <a:pt x="145" y="176"/>
                      </a:lnTo>
                      <a:close/>
                      <a:moveTo>
                        <a:pt x="145" y="144"/>
                      </a:moveTo>
                      <a:cubicBezTo>
                        <a:pt x="112" y="144"/>
                        <a:pt x="112" y="144"/>
                        <a:pt x="112" y="144"/>
                      </a:cubicBezTo>
                      <a:cubicBezTo>
                        <a:pt x="112" y="111"/>
                        <a:pt x="112" y="111"/>
                        <a:pt x="112" y="111"/>
                      </a:cubicBezTo>
                      <a:cubicBezTo>
                        <a:pt x="145" y="111"/>
                        <a:pt x="145" y="111"/>
                        <a:pt x="145" y="111"/>
                      </a:cubicBezTo>
                      <a:lnTo>
                        <a:pt x="145" y="144"/>
                      </a:lnTo>
                      <a:close/>
                      <a:moveTo>
                        <a:pt x="145" y="107"/>
                      </a:moveTo>
                      <a:cubicBezTo>
                        <a:pt x="112" y="107"/>
                        <a:pt x="112" y="107"/>
                        <a:pt x="112" y="107"/>
                      </a:cubicBezTo>
                      <a:cubicBezTo>
                        <a:pt x="112" y="81"/>
                        <a:pt x="112" y="81"/>
                        <a:pt x="112" y="81"/>
                      </a:cubicBezTo>
                      <a:cubicBezTo>
                        <a:pt x="145" y="81"/>
                        <a:pt x="145" y="81"/>
                        <a:pt x="145" y="81"/>
                      </a:cubicBezTo>
                      <a:lnTo>
                        <a:pt x="145" y="107"/>
                      </a:lnTo>
                      <a:close/>
                      <a:moveTo>
                        <a:pt x="145" y="77"/>
                      </a:moveTo>
                      <a:cubicBezTo>
                        <a:pt x="112" y="77"/>
                        <a:pt x="112" y="77"/>
                        <a:pt x="112" y="77"/>
                      </a:cubicBezTo>
                      <a:cubicBezTo>
                        <a:pt x="112" y="46"/>
                        <a:pt x="112" y="46"/>
                        <a:pt x="112" y="46"/>
                      </a:cubicBezTo>
                      <a:cubicBezTo>
                        <a:pt x="145" y="46"/>
                        <a:pt x="145" y="46"/>
                        <a:pt x="145" y="46"/>
                      </a:cubicBezTo>
                      <a:lnTo>
                        <a:pt x="145" y="77"/>
                      </a:lnTo>
                      <a:close/>
                      <a:moveTo>
                        <a:pt x="145" y="42"/>
                      </a:moveTo>
                      <a:cubicBezTo>
                        <a:pt x="112" y="42"/>
                        <a:pt x="112" y="42"/>
                        <a:pt x="112" y="42"/>
                      </a:cubicBezTo>
                      <a:cubicBezTo>
                        <a:pt x="112" y="12"/>
                        <a:pt x="112" y="12"/>
                        <a:pt x="112" y="12"/>
                      </a:cubicBezTo>
                      <a:cubicBezTo>
                        <a:pt x="145" y="12"/>
                        <a:pt x="145" y="12"/>
                        <a:pt x="145" y="12"/>
                      </a:cubicBezTo>
                      <a:lnTo>
                        <a:pt x="145" y="42"/>
                      </a:lnTo>
                      <a:close/>
                      <a:moveTo>
                        <a:pt x="180" y="176"/>
                      </a:moveTo>
                      <a:cubicBezTo>
                        <a:pt x="149" y="176"/>
                        <a:pt x="149" y="176"/>
                        <a:pt x="149" y="176"/>
                      </a:cubicBezTo>
                      <a:cubicBezTo>
                        <a:pt x="149" y="148"/>
                        <a:pt x="149" y="148"/>
                        <a:pt x="149" y="148"/>
                      </a:cubicBezTo>
                      <a:cubicBezTo>
                        <a:pt x="180" y="148"/>
                        <a:pt x="180" y="148"/>
                        <a:pt x="180" y="148"/>
                      </a:cubicBezTo>
                      <a:lnTo>
                        <a:pt x="180" y="176"/>
                      </a:lnTo>
                      <a:close/>
                      <a:moveTo>
                        <a:pt x="180" y="144"/>
                      </a:moveTo>
                      <a:cubicBezTo>
                        <a:pt x="149" y="144"/>
                        <a:pt x="149" y="144"/>
                        <a:pt x="149" y="144"/>
                      </a:cubicBezTo>
                      <a:cubicBezTo>
                        <a:pt x="149" y="111"/>
                        <a:pt x="149" y="111"/>
                        <a:pt x="149" y="111"/>
                      </a:cubicBezTo>
                      <a:cubicBezTo>
                        <a:pt x="180" y="111"/>
                        <a:pt x="180" y="111"/>
                        <a:pt x="180" y="111"/>
                      </a:cubicBezTo>
                      <a:lnTo>
                        <a:pt x="180" y="144"/>
                      </a:lnTo>
                      <a:close/>
                      <a:moveTo>
                        <a:pt x="180" y="107"/>
                      </a:moveTo>
                      <a:cubicBezTo>
                        <a:pt x="149" y="107"/>
                        <a:pt x="149" y="107"/>
                        <a:pt x="149" y="107"/>
                      </a:cubicBezTo>
                      <a:cubicBezTo>
                        <a:pt x="149" y="81"/>
                        <a:pt x="149" y="81"/>
                        <a:pt x="149" y="81"/>
                      </a:cubicBezTo>
                      <a:cubicBezTo>
                        <a:pt x="180" y="81"/>
                        <a:pt x="180" y="81"/>
                        <a:pt x="180" y="81"/>
                      </a:cubicBezTo>
                      <a:lnTo>
                        <a:pt x="180" y="107"/>
                      </a:lnTo>
                      <a:close/>
                      <a:moveTo>
                        <a:pt x="180" y="77"/>
                      </a:moveTo>
                      <a:cubicBezTo>
                        <a:pt x="149" y="77"/>
                        <a:pt x="149" y="77"/>
                        <a:pt x="149" y="77"/>
                      </a:cubicBezTo>
                      <a:cubicBezTo>
                        <a:pt x="149" y="46"/>
                        <a:pt x="149" y="46"/>
                        <a:pt x="149" y="46"/>
                      </a:cubicBezTo>
                      <a:cubicBezTo>
                        <a:pt x="180" y="46"/>
                        <a:pt x="180" y="46"/>
                        <a:pt x="180" y="46"/>
                      </a:cubicBezTo>
                      <a:lnTo>
                        <a:pt x="180" y="77"/>
                      </a:lnTo>
                      <a:close/>
                      <a:moveTo>
                        <a:pt x="180" y="42"/>
                      </a:moveTo>
                      <a:cubicBezTo>
                        <a:pt x="149" y="42"/>
                        <a:pt x="149" y="42"/>
                        <a:pt x="149" y="42"/>
                      </a:cubicBezTo>
                      <a:cubicBezTo>
                        <a:pt x="149" y="12"/>
                        <a:pt x="149" y="12"/>
                        <a:pt x="149" y="12"/>
                      </a:cubicBezTo>
                      <a:cubicBezTo>
                        <a:pt x="180" y="12"/>
                        <a:pt x="180" y="12"/>
                        <a:pt x="180" y="12"/>
                      </a:cubicBezTo>
                      <a:lnTo>
                        <a:pt x="180" y="42"/>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1">
                    <a:solidFill>
                      <a:srgbClr val="333333"/>
                    </a:solidFill>
                  </a:endParaRPr>
                </a:p>
              </p:txBody>
            </p:sp>
            <p:sp>
              <p:nvSpPr>
                <p:cNvPr id="37" name="Freeform 119"/>
                <p:cNvSpPr>
                  <a:spLocks/>
                </p:cNvSpPr>
                <p:nvPr/>
              </p:nvSpPr>
              <p:spPr bwMode="auto">
                <a:xfrm>
                  <a:off x="14758988" y="5292726"/>
                  <a:ext cx="309563" cy="303213"/>
                </a:xfrm>
                <a:custGeom>
                  <a:avLst/>
                  <a:gdLst>
                    <a:gd name="T0" fmla="*/ 195 w 195"/>
                    <a:gd name="T1" fmla="*/ 64 h 191"/>
                    <a:gd name="T2" fmla="*/ 192 w 195"/>
                    <a:gd name="T3" fmla="*/ 0 h 191"/>
                    <a:gd name="T4" fmla="*/ 137 w 195"/>
                    <a:gd name="T5" fmla="*/ 32 h 191"/>
                    <a:gd name="T6" fmla="*/ 157 w 195"/>
                    <a:gd name="T7" fmla="*/ 44 h 191"/>
                    <a:gd name="T8" fmla="*/ 127 w 195"/>
                    <a:gd name="T9" fmla="*/ 90 h 191"/>
                    <a:gd name="T10" fmla="*/ 88 w 195"/>
                    <a:gd name="T11" fmla="*/ 90 h 191"/>
                    <a:gd name="T12" fmla="*/ 38 w 195"/>
                    <a:gd name="T13" fmla="*/ 166 h 191"/>
                    <a:gd name="T14" fmla="*/ 0 w 195"/>
                    <a:gd name="T15" fmla="*/ 149 h 191"/>
                    <a:gd name="T16" fmla="*/ 0 w 195"/>
                    <a:gd name="T17" fmla="*/ 171 h 191"/>
                    <a:gd name="T18" fmla="*/ 47 w 195"/>
                    <a:gd name="T19" fmla="*/ 191 h 191"/>
                    <a:gd name="T20" fmla="*/ 98 w 195"/>
                    <a:gd name="T21" fmla="*/ 110 h 191"/>
                    <a:gd name="T22" fmla="*/ 138 w 195"/>
                    <a:gd name="T23" fmla="*/ 110 h 191"/>
                    <a:gd name="T24" fmla="*/ 173 w 195"/>
                    <a:gd name="T25" fmla="*/ 54 h 191"/>
                    <a:gd name="T26" fmla="*/ 195 w 195"/>
                    <a:gd name="T27" fmla="*/ 6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5" h="191">
                      <a:moveTo>
                        <a:pt x="195" y="64"/>
                      </a:moveTo>
                      <a:lnTo>
                        <a:pt x="192" y="0"/>
                      </a:lnTo>
                      <a:lnTo>
                        <a:pt x="137" y="32"/>
                      </a:lnTo>
                      <a:lnTo>
                        <a:pt x="157" y="44"/>
                      </a:lnTo>
                      <a:lnTo>
                        <a:pt x="127" y="90"/>
                      </a:lnTo>
                      <a:lnTo>
                        <a:pt x="88" y="90"/>
                      </a:lnTo>
                      <a:lnTo>
                        <a:pt x="38" y="166"/>
                      </a:lnTo>
                      <a:lnTo>
                        <a:pt x="0" y="149"/>
                      </a:lnTo>
                      <a:lnTo>
                        <a:pt x="0" y="171"/>
                      </a:lnTo>
                      <a:lnTo>
                        <a:pt x="47" y="191"/>
                      </a:lnTo>
                      <a:lnTo>
                        <a:pt x="98" y="110"/>
                      </a:lnTo>
                      <a:lnTo>
                        <a:pt x="138" y="110"/>
                      </a:lnTo>
                      <a:lnTo>
                        <a:pt x="173" y="54"/>
                      </a:lnTo>
                      <a:lnTo>
                        <a:pt x="195" y="64"/>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1">
                    <a:solidFill>
                      <a:srgbClr val="333333"/>
                    </a:solidFill>
                  </a:endParaRPr>
                </a:p>
              </p:txBody>
            </p:sp>
          </p:grpSp>
        </p:grpSp>
      </p:grpSp>
      <p:grpSp>
        <p:nvGrpSpPr>
          <p:cNvPr id="38" name="Group 164"/>
          <p:cNvGrpSpPr/>
          <p:nvPr/>
        </p:nvGrpSpPr>
        <p:grpSpPr>
          <a:xfrm>
            <a:off x="4392712" y="1277337"/>
            <a:ext cx="916305" cy="987891"/>
            <a:chOff x="1647955" y="2448322"/>
            <a:chExt cx="916305" cy="987891"/>
          </a:xfrm>
        </p:grpSpPr>
        <p:sp>
          <p:nvSpPr>
            <p:cNvPr id="39" name="Freeform 7"/>
            <p:cNvSpPr>
              <a:spLocks/>
            </p:cNvSpPr>
            <p:nvPr/>
          </p:nvSpPr>
          <p:spPr bwMode="auto">
            <a:xfrm>
              <a:off x="1647955" y="2448322"/>
              <a:ext cx="916305" cy="370708"/>
            </a:xfrm>
            <a:prstGeom prst="rect">
              <a:avLst/>
            </a:prstGeom>
            <a:solidFill>
              <a:schemeClr val="bg1"/>
            </a:solidFill>
            <a:ln w="9525" algn="ctr">
              <a:noFill/>
              <a:miter lim="800000"/>
              <a:headEnd type="none" w="lg" len="lg"/>
              <a:tailEnd type="none" w="lg" len="lg"/>
            </a:ln>
          </p:spPr>
          <p:txBody>
            <a:bodyPr lIns="0" tIns="0" rIns="0" bIns="0" anchor="ctr"/>
            <a:lstStyle/>
            <a:p>
              <a:pPr algn="ctr" defTabSz="1040767">
                <a:lnSpc>
                  <a:spcPct val="90000"/>
                </a:lnSpc>
              </a:pPr>
              <a:r>
                <a:rPr lang="en-US" sz="900" b="1" noProof="1">
                  <a:solidFill>
                    <a:schemeClr val="tx2"/>
                  </a:solidFill>
                  <a:ea typeface="ヒラギノ角ゴ Pro W3"/>
                  <a:cs typeface="ヒラギノ角ゴ Pro W3"/>
                </a:rPr>
                <a:t>Optimize process</a:t>
              </a:r>
            </a:p>
          </p:txBody>
        </p:sp>
        <p:grpSp>
          <p:nvGrpSpPr>
            <p:cNvPr id="40" name="Group 77"/>
            <p:cNvGrpSpPr/>
            <p:nvPr/>
          </p:nvGrpSpPr>
          <p:grpSpPr>
            <a:xfrm>
              <a:off x="1818075" y="2860149"/>
              <a:ext cx="576064" cy="576064"/>
              <a:chOff x="1818075" y="2852529"/>
              <a:chExt cx="576064" cy="576064"/>
            </a:xfrm>
          </p:grpSpPr>
          <p:sp>
            <p:nvSpPr>
              <p:cNvPr id="41" name="Rectangle 40"/>
              <p:cNvSpPr/>
              <p:nvPr/>
            </p:nvSpPr>
            <p:spPr>
              <a:xfrm>
                <a:off x="1818075" y="2852529"/>
                <a:ext cx="576064" cy="57606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42" name="Group 131"/>
              <p:cNvGrpSpPr/>
              <p:nvPr/>
            </p:nvGrpSpPr>
            <p:grpSpPr>
              <a:xfrm>
                <a:off x="1870856" y="2985496"/>
                <a:ext cx="470502" cy="310129"/>
                <a:chOff x="3835231" y="3016126"/>
                <a:chExt cx="764151" cy="534492"/>
              </a:xfrm>
              <a:solidFill>
                <a:schemeClr val="bg1"/>
              </a:solidFill>
            </p:grpSpPr>
            <p:grpSp>
              <p:nvGrpSpPr>
                <p:cNvPr id="43" name="Group 121"/>
                <p:cNvGrpSpPr/>
                <p:nvPr/>
              </p:nvGrpSpPr>
              <p:grpSpPr>
                <a:xfrm>
                  <a:off x="4145529" y="3016126"/>
                  <a:ext cx="453853" cy="534492"/>
                  <a:chOff x="4237038" y="5414963"/>
                  <a:chExt cx="696912" cy="820737"/>
                </a:xfrm>
                <a:grpFill/>
              </p:grpSpPr>
              <p:sp>
                <p:nvSpPr>
                  <p:cNvPr id="51" name="Freeform 6"/>
                  <p:cNvSpPr>
                    <a:spLocks noEditPoints="1"/>
                  </p:cNvSpPr>
                  <p:nvPr/>
                </p:nvSpPr>
                <p:spPr bwMode="auto">
                  <a:xfrm>
                    <a:off x="4237038" y="5414963"/>
                    <a:ext cx="696912" cy="820737"/>
                  </a:xfrm>
                  <a:custGeom>
                    <a:avLst/>
                    <a:gdLst>
                      <a:gd name="T0" fmla="*/ 154 w 186"/>
                      <a:gd name="T1" fmla="*/ 56 h 219"/>
                      <a:gd name="T2" fmla="*/ 162 w 186"/>
                      <a:gd name="T3" fmla="*/ 44 h 219"/>
                      <a:gd name="T4" fmla="*/ 167 w 186"/>
                      <a:gd name="T5" fmla="*/ 48 h 219"/>
                      <a:gd name="T6" fmla="*/ 173 w 186"/>
                      <a:gd name="T7" fmla="*/ 41 h 219"/>
                      <a:gd name="T8" fmla="*/ 156 w 186"/>
                      <a:gd name="T9" fmla="*/ 27 h 219"/>
                      <a:gd name="T10" fmla="*/ 149 w 186"/>
                      <a:gd name="T11" fmla="*/ 33 h 219"/>
                      <a:gd name="T12" fmla="*/ 154 w 186"/>
                      <a:gd name="T13" fmla="*/ 38 h 219"/>
                      <a:gd name="T14" fmla="*/ 144 w 186"/>
                      <a:gd name="T15" fmla="*/ 49 h 219"/>
                      <a:gd name="T16" fmla="*/ 103 w 186"/>
                      <a:gd name="T17" fmla="*/ 33 h 219"/>
                      <a:gd name="T18" fmla="*/ 103 w 186"/>
                      <a:gd name="T19" fmla="*/ 13 h 219"/>
                      <a:gd name="T20" fmla="*/ 109 w 186"/>
                      <a:gd name="T21" fmla="*/ 13 h 219"/>
                      <a:gd name="T22" fmla="*/ 117 w 186"/>
                      <a:gd name="T23" fmla="*/ 6 h 219"/>
                      <a:gd name="T24" fmla="*/ 109 w 186"/>
                      <a:gd name="T25" fmla="*/ 0 h 219"/>
                      <a:gd name="T26" fmla="*/ 76 w 186"/>
                      <a:gd name="T27" fmla="*/ 0 h 219"/>
                      <a:gd name="T28" fmla="*/ 70 w 186"/>
                      <a:gd name="T29" fmla="*/ 8 h 219"/>
                      <a:gd name="T30" fmla="*/ 76 w 186"/>
                      <a:gd name="T31" fmla="*/ 13 h 219"/>
                      <a:gd name="T32" fmla="*/ 82 w 186"/>
                      <a:gd name="T33" fmla="*/ 13 h 219"/>
                      <a:gd name="T34" fmla="*/ 82 w 186"/>
                      <a:gd name="T35" fmla="*/ 33 h 219"/>
                      <a:gd name="T36" fmla="*/ 0 w 186"/>
                      <a:gd name="T37" fmla="*/ 127 h 219"/>
                      <a:gd name="T38" fmla="*/ 94 w 186"/>
                      <a:gd name="T39" fmla="*/ 219 h 219"/>
                      <a:gd name="T40" fmla="*/ 186 w 186"/>
                      <a:gd name="T41" fmla="*/ 127 h 219"/>
                      <a:gd name="T42" fmla="*/ 154 w 186"/>
                      <a:gd name="T43" fmla="*/ 56 h 219"/>
                      <a:gd name="T44" fmla="*/ 151 w 186"/>
                      <a:gd name="T45" fmla="*/ 171 h 219"/>
                      <a:gd name="T46" fmla="*/ 140 w 186"/>
                      <a:gd name="T47" fmla="*/ 163 h 219"/>
                      <a:gd name="T48" fmla="*/ 136 w 186"/>
                      <a:gd name="T49" fmla="*/ 170 h 219"/>
                      <a:gd name="T50" fmla="*/ 144 w 186"/>
                      <a:gd name="T51" fmla="*/ 178 h 219"/>
                      <a:gd name="T52" fmla="*/ 97 w 186"/>
                      <a:gd name="T53" fmla="*/ 198 h 219"/>
                      <a:gd name="T54" fmla="*/ 97 w 186"/>
                      <a:gd name="T55" fmla="*/ 184 h 219"/>
                      <a:gd name="T56" fmla="*/ 90 w 186"/>
                      <a:gd name="T57" fmla="*/ 184 h 219"/>
                      <a:gd name="T58" fmla="*/ 89 w 186"/>
                      <a:gd name="T59" fmla="*/ 198 h 219"/>
                      <a:gd name="T60" fmla="*/ 48 w 186"/>
                      <a:gd name="T61" fmla="*/ 184 h 219"/>
                      <a:gd name="T62" fmla="*/ 41 w 186"/>
                      <a:gd name="T63" fmla="*/ 178 h 219"/>
                      <a:gd name="T64" fmla="*/ 49 w 186"/>
                      <a:gd name="T65" fmla="*/ 170 h 219"/>
                      <a:gd name="T66" fmla="*/ 44 w 186"/>
                      <a:gd name="T67" fmla="*/ 163 h 219"/>
                      <a:gd name="T68" fmla="*/ 35 w 186"/>
                      <a:gd name="T69" fmla="*/ 170 h 219"/>
                      <a:gd name="T70" fmla="*/ 21 w 186"/>
                      <a:gd name="T71" fmla="*/ 130 h 219"/>
                      <a:gd name="T72" fmla="*/ 35 w 186"/>
                      <a:gd name="T73" fmla="*/ 130 h 219"/>
                      <a:gd name="T74" fmla="*/ 35 w 186"/>
                      <a:gd name="T75" fmla="*/ 124 h 219"/>
                      <a:gd name="T76" fmla="*/ 21 w 186"/>
                      <a:gd name="T77" fmla="*/ 124 h 219"/>
                      <a:gd name="T78" fmla="*/ 35 w 186"/>
                      <a:gd name="T79" fmla="*/ 83 h 219"/>
                      <a:gd name="T80" fmla="*/ 43 w 186"/>
                      <a:gd name="T81" fmla="*/ 89 h 219"/>
                      <a:gd name="T82" fmla="*/ 49 w 186"/>
                      <a:gd name="T83" fmla="*/ 83 h 219"/>
                      <a:gd name="T84" fmla="*/ 41 w 186"/>
                      <a:gd name="T85" fmla="*/ 76 h 219"/>
                      <a:gd name="T86" fmla="*/ 94 w 186"/>
                      <a:gd name="T87" fmla="*/ 54 h 219"/>
                      <a:gd name="T88" fmla="*/ 144 w 186"/>
                      <a:gd name="T89" fmla="*/ 76 h 219"/>
                      <a:gd name="T90" fmla="*/ 136 w 186"/>
                      <a:gd name="T91" fmla="*/ 83 h 219"/>
                      <a:gd name="T92" fmla="*/ 141 w 186"/>
                      <a:gd name="T93" fmla="*/ 89 h 219"/>
                      <a:gd name="T94" fmla="*/ 151 w 186"/>
                      <a:gd name="T95" fmla="*/ 83 h 219"/>
                      <a:gd name="T96" fmla="*/ 165 w 186"/>
                      <a:gd name="T97" fmla="*/ 122 h 219"/>
                      <a:gd name="T98" fmla="*/ 151 w 186"/>
                      <a:gd name="T99" fmla="*/ 124 h 219"/>
                      <a:gd name="T100" fmla="*/ 151 w 186"/>
                      <a:gd name="T101" fmla="*/ 130 h 219"/>
                      <a:gd name="T102" fmla="*/ 165 w 186"/>
                      <a:gd name="T103" fmla="*/ 130 h 219"/>
                      <a:gd name="T104" fmla="*/ 151 w 186"/>
                      <a:gd name="T105" fmla="*/ 17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6" h="219">
                        <a:moveTo>
                          <a:pt x="154" y="56"/>
                        </a:moveTo>
                        <a:cubicBezTo>
                          <a:pt x="162" y="44"/>
                          <a:pt x="162" y="44"/>
                          <a:pt x="162" y="44"/>
                        </a:cubicBezTo>
                        <a:cubicBezTo>
                          <a:pt x="167" y="48"/>
                          <a:pt x="167" y="48"/>
                          <a:pt x="167" y="48"/>
                        </a:cubicBezTo>
                        <a:cubicBezTo>
                          <a:pt x="173" y="41"/>
                          <a:pt x="173" y="41"/>
                          <a:pt x="173" y="41"/>
                        </a:cubicBezTo>
                        <a:cubicBezTo>
                          <a:pt x="156" y="27"/>
                          <a:pt x="156" y="27"/>
                          <a:pt x="156" y="27"/>
                        </a:cubicBezTo>
                        <a:cubicBezTo>
                          <a:pt x="149" y="33"/>
                          <a:pt x="149" y="33"/>
                          <a:pt x="149" y="33"/>
                        </a:cubicBezTo>
                        <a:cubicBezTo>
                          <a:pt x="154" y="38"/>
                          <a:pt x="154" y="38"/>
                          <a:pt x="154" y="38"/>
                        </a:cubicBezTo>
                        <a:cubicBezTo>
                          <a:pt x="144" y="49"/>
                          <a:pt x="144" y="49"/>
                          <a:pt x="144" y="49"/>
                        </a:cubicBezTo>
                        <a:cubicBezTo>
                          <a:pt x="132" y="41"/>
                          <a:pt x="122" y="35"/>
                          <a:pt x="103" y="33"/>
                        </a:cubicBezTo>
                        <a:cubicBezTo>
                          <a:pt x="103" y="13"/>
                          <a:pt x="103" y="13"/>
                          <a:pt x="103" y="13"/>
                        </a:cubicBezTo>
                        <a:cubicBezTo>
                          <a:pt x="109" y="13"/>
                          <a:pt x="109" y="13"/>
                          <a:pt x="109" y="13"/>
                        </a:cubicBezTo>
                        <a:cubicBezTo>
                          <a:pt x="117" y="13"/>
                          <a:pt x="117" y="6"/>
                          <a:pt x="117" y="6"/>
                        </a:cubicBezTo>
                        <a:cubicBezTo>
                          <a:pt x="117" y="0"/>
                          <a:pt x="109" y="0"/>
                          <a:pt x="109" y="0"/>
                        </a:cubicBezTo>
                        <a:cubicBezTo>
                          <a:pt x="76" y="0"/>
                          <a:pt x="76" y="0"/>
                          <a:pt x="76" y="0"/>
                        </a:cubicBezTo>
                        <a:cubicBezTo>
                          <a:pt x="68" y="0"/>
                          <a:pt x="70" y="8"/>
                          <a:pt x="70" y="8"/>
                        </a:cubicBezTo>
                        <a:cubicBezTo>
                          <a:pt x="70" y="13"/>
                          <a:pt x="76" y="13"/>
                          <a:pt x="76" y="13"/>
                        </a:cubicBezTo>
                        <a:cubicBezTo>
                          <a:pt x="82" y="13"/>
                          <a:pt x="82" y="13"/>
                          <a:pt x="82" y="13"/>
                        </a:cubicBezTo>
                        <a:cubicBezTo>
                          <a:pt x="82" y="33"/>
                          <a:pt x="82" y="33"/>
                          <a:pt x="82" y="33"/>
                        </a:cubicBezTo>
                        <a:cubicBezTo>
                          <a:pt x="43" y="33"/>
                          <a:pt x="0" y="76"/>
                          <a:pt x="0" y="127"/>
                        </a:cubicBezTo>
                        <a:cubicBezTo>
                          <a:pt x="0" y="178"/>
                          <a:pt x="41" y="219"/>
                          <a:pt x="94" y="219"/>
                        </a:cubicBezTo>
                        <a:cubicBezTo>
                          <a:pt x="144" y="219"/>
                          <a:pt x="186" y="178"/>
                          <a:pt x="186" y="127"/>
                        </a:cubicBezTo>
                        <a:cubicBezTo>
                          <a:pt x="186" y="98"/>
                          <a:pt x="173" y="73"/>
                          <a:pt x="154" y="56"/>
                        </a:cubicBezTo>
                        <a:close/>
                        <a:moveTo>
                          <a:pt x="151" y="171"/>
                        </a:moveTo>
                        <a:cubicBezTo>
                          <a:pt x="140" y="163"/>
                          <a:pt x="140" y="163"/>
                          <a:pt x="140" y="163"/>
                        </a:cubicBezTo>
                        <a:cubicBezTo>
                          <a:pt x="136" y="170"/>
                          <a:pt x="136" y="170"/>
                          <a:pt x="136" y="170"/>
                        </a:cubicBezTo>
                        <a:cubicBezTo>
                          <a:pt x="136" y="170"/>
                          <a:pt x="146" y="176"/>
                          <a:pt x="144" y="178"/>
                        </a:cubicBezTo>
                        <a:cubicBezTo>
                          <a:pt x="132" y="190"/>
                          <a:pt x="116" y="198"/>
                          <a:pt x="97" y="198"/>
                        </a:cubicBezTo>
                        <a:cubicBezTo>
                          <a:pt x="95" y="198"/>
                          <a:pt x="97" y="184"/>
                          <a:pt x="97" y="184"/>
                        </a:cubicBezTo>
                        <a:cubicBezTo>
                          <a:pt x="90" y="184"/>
                          <a:pt x="90" y="184"/>
                          <a:pt x="90" y="184"/>
                        </a:cubicBezTo>
                        <a:cubicBezTo>
                          <a:pt x="90" y="184"/>
                          <a:pt x="89" y="194"/>
                          <a:pt x="89" y="198"/>
                        </a:cubicBezTo>
                        <a:cubicBezTo>
                          <a:pt x="75" y="198"/>
                          <a:pt x="60" y="192"/>
                          <a:pt x="48" y="184"/>
                        </a:cubicBezTo>
                        <a:cubicBezTo>
                          <a:pt x="46" y="182"/>
                          <a:pt x="44" y="179"/>
                          <a:pt x="41" y="178"/>
                        </a:cubicBezTo>
                        <a:cubicBezTo>
                          <a:pt x="49" y="170"/>
                          <a:pt x="49" y="170"/>
                          <a:pt x="49" y="170"/>
                        </a:cubicBezTo>
                        <a:cubicBezTo>
                          <a:pt x="44" y="163"/>
                          <a:pt x="44" y="163"/>
                          <a:pt x="44" y="163"/>
                        </a:cubicBezTo>
                        <a:cubicBezTo>
                          <a:pt x="44" y="163"/>
                          <a:pt x="38" y="168"/>
                          <a:pt x="35" y="170"/>
                        </a:cubicBezTo>
                        <a:cubicBezTo>
                          <a:pt x="27" y="159"/>
                          <a:pt x="21" y="144"/>
                          <a:pt x="21" y="130"/>
                        </a:cubicBezTo>
                        <a:cubicBezTo>
                          <a:pt x="35" y="130"/>
                          <a:pt x="35" y="130"/>
                          <a:pt x="35" y="130"/>
                        </a:cubicBezTo>
                        <a:cubicBezTo>
                          <a:pt x="35" y="124"/>
                          <a:pt x="35" y="124"/>
                          <a:pt x="35" y="124"/>
                        </a:cubicBezTo>
                        <a:cubicBezTo>
                          <a:pt x="35" y="124"/>
                          <a:pt x="27" y="124"/>
                          <a:pt x="21" y="124"/>
                        </a:cubicBezTo>
                        <a:cubicBezTo>
                          <a:pt x="21" y="108"/>
                          <a:pt x="27" y="94"/>
                          <a:pt x="35" y="83"/>
                        </a:cubicBezTo>
                        <a:cubicBezTo>
                          <a:pt x="36" y="81"/>
                          <a:pt x="43" y="89"/>
                          <a:pt x="43" y="89"/>
                        </a:cubicBezTo>
                        <a:cubicBezTo>
                          <a:pt x="49" y="83"/>
                          <a:pt x="49" y="83"/>
                          <a:pt x="49" y="83"/>
                        </a:cubicBezTo>
                        <a:cubicBezTo>
                          <a:pt x="49" y="83"/>
                          <a:pt x="43" y="78"/>
                          <a:pt x="41" y="76"/>
                        </a:cubicBezTo>
                        <a:cubicBezTo>
                          <a:pt x="54" y="62"/>
                          <a:pt x="73" y="54"/>
                          <a:pt x="94" y="54"/>
                        </a:cubicBezTo>
                        <a:cubicBezTo>
                          <a:pt x="113" y="54"/>
                          <a:pt x="132" y="62"/>
                          <a:pt x="144" y="76"/>
                        </a:cubicBezTo>
                        <a:cubicBezTo>
                          <a:pt x="143" y="78"/>
                          <a:pt x="136" y="83"/>
                          <a:pt x="136" y="83"/>
                        </a:cubicBezTo>
                        <a:cubicBezTo>
                          <a:pt x="141" y="89"/>
                          <a:pt x="141" y="89"/>
                          <a:pt x="141" y="89"/>
                        </a:cubicBezTo>
                        <a:cubicBezTo>
                          <a:pt x="141" y="89"/>
                          <a:pt x="149" y="81"/>
                          <a:pt x="151" y="83"/>
                        </a:cubicBezTo>
                        <a:cubicBezTo>
                          <a:pt x="159" y="94"/>
                          <a:pt x="165" y="108"/>
                          <a:pt x="165" y="122"/>
                        </a:cubicBezTo>
                        <a:cubicBezTo>
                          <a:pt x="162" y="124"/>
                          <a:pt x="151" y="124"/>
                          <a:pt x="151" y="124"/>
                        </a:cubicBezTo>
                        <a:cubicBezTo>
                          <a:pt x="151" y="130"/>
                          <a:pt x="151" y="130"/>
                          <a:pt x="151" y="130"/>
                        </a:cubicBezTo>
                        <a:cubicBezTo>
                          <a:pt x="165" y="130"/>
                          <a:pt x="165" y="130"/>
                          <a:pt x="165" y="130"/>
                        </a:cubicBezTo>
                        <a:cubicBezTo>
                          <a:pt x="165" y="146"/>
                          <a:pt x="160" y="159"/>
                          <a:pt x="151" y="1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noProof="1"/>
                  </a:p>
                </p:txBody>
              </p:sp>
              <p:sp>
                <p:nvSpPr>
                  <p:cNvPr id="52" name="Freeform 7"/>
                  <p:cNvSpPr>
                    <a:spLocks/>
                  </p:cNvSpPr>
                  <p:nvPr/>
                </p:nvSpPr>
                <p:spPr bwMode="auto">
                  <a:xfrm>
                    <a:off x="4543425" y="5646738"/>
                    <a:ext cx="79375" cy="307975"/>
                  </a:xfrm>
                  <a:custGeom>
                    <a:avLst/>
                    <a:gdLst>
                      <a:gd name="T0" fmla="*/ 15 w 21"/>
                      <a:gd name="T1" fmla="*/ 60 h 82"/>
                      <a:gd name="T2" fmla="*/ 15 w 21"/>
                      <a:gd name="T3" fmla="*/ 3 h 82"/>
                      <a:gd name="T4" fmla="*/ 12 w 21"/>
                      <a:gd name="T5" fmla="*/ 0 h 82"/>
                      <a:gd name="T6" fmla="*/ 7 w 21"/>
                      <a:gd name="T7" fmla="*/ 3 h 82"/>
                      <a:gd name="T8" fmla="*/ 7 w 21"/>
                      <a:gd name="T9" fmla="*/ 60 h 82"/>
                      <a:gd name="T10" fmla="*/ 0 w 21"/>
                      <a:gd name="T11" fmla="*/ 71 h 82"/>
                      <a:gd name="T12" fmla="*/ 10 w 21"/>
                      <a:gd name="T13" fmla="*/ 82 h 82"/>
                      <a:gd name="T14" fmla="*/ 21 w 21"/>
                      <a:gd name="T15" fmla="*/ 71 h 82"/>
                      <a:gd name="T16" fmla="*/ 15 w 21"/>
                      <a:gd name="T17" fmla="*/ 6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82">
                        <a:moveTo>
                          <a:pt x="15" y="60"/>
                        </a:moveTo>
                        <a:cubicBezTo>
                          <a:pt x="15" y="47"/>
                          <a:pt x="15" y="3"/>
                          <a:pt x="15" y="3"/>
                        </a:cubicBezTo>
                        <a:cubicBezTo>
                          <a:pt x="15" y="1"/>
                          <a:pt x="13" y="0"/>
                          <a:pt x="12" y="0"/>
                        </a:cubicBezTo>
                        <a:cubicBezTo>
                          <a:pt x="8" y="0"/>
                          <a:pt x="7" y="1"/>
                          <a:pt x="7" y="3"/>
                        </a:cubicBezTo>
                        <a:cubicBezTo>
                          <a:pt x="7" y="3"/>
                          <a:pt x="7" y="47"/>
                          <a:pt x="7" y="60"/>
                        </a:cubicBezTo>
                        <a:cubicBezTo>
                          <a:pt x="7" y="60"/>
                          <a:pt x="0" y="62"/>
                          <a:pt x="0" y="71"/>
                        </a:cubicBezTo>
                        <a:cubicBezTo>
                          <a:pt x="0" y="78"/>
                          <a:pt x="5" y="82"/>
                          <a:pt x="10" y="82"/>
                        </a:cubicBezTo>
                        <a:cubicBezTo>
                          <a:pt x="16" y="82"/>
                          <a:pt x="21" y="78"/>
                          <a:pt x="21" y="71"/>
                        </a:cubicBezTo>
                        <a:cubicBezTo>
                          <a:pt x="21" y="62"/>
                          <a:pt x="15" y="60"/>
                          <a:pt x="15"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noProof="1"/>
                  </a:p>
                </p:txBody>
              </p:sp>
            </p:grpSp>
            <p:grpSp>
              <p:nvGrpSpPr>
                <p:cNvPr id="44" name="Group 130"/>
                <p:cNvGrpSpPr/>
                <p:nvPr/>
              </p:nvGrpSpPr>
              <p:grpSpPr>
                <a:xfrm>
                  <a:off x="3835231" y="3035926"/>
                  <a:ext cx="482873" cy="289366"/>
                  <a:chOff x="3804426" y="2963234"/>
                  <a:chExt cx="610953" cy="366119"/>
                </a:xfrm>
                <a:grpFill/>
              </p:grpSpPr>
              <p:sp>
                <p:nvSpPr>
                  <p:cNvPr id="45" name="Rectangle 129"/>
                  <p:cNvSpPr/>
                  <p:nvPr/>
                </p:nvSpPr>
                <p:spPr>
                  <a:xfrm>
                    <a:off x="3816236" y="2999205"/>
                    <a:ext cx="580758" cy="282360"/>
                  </a:xfrm>
                  <a:custGeom>
                    <a:avLst/>
                    <a:gdLst>
                      <a:gd name="connsiteX0" fmla="*/ 0 w 535514"/>
                      <a:gd name="connsiteY0" fmla="*/ 0 h 329050"/>
                      <a:gd name="connsiteX1" fmla="*/ 535514 w 535514"/>
                      <a:gd name="connsiteY1" fmla="*/ 0 h 329050"/>
                      <a:gd name="connsiteX2" fmla="*/ 535514 w 535514"/>
                      <a:gd name="connsiteY2" fmla="*/ 329050 h 329050"/>
                      <a:gd name="connsiteX3" fmla="*/ 0 w 535514"/>
                      <a:gd name="connsiteY3" fmla="*/ 329050 h 329050"/>
                      <a:gd name="connsiteX4" fmla="*/ 0 w 535514"/>
                      <a:gd name="connsiteY4" fmla="*/ 0 h 329050"/>
                      <a:gd name="connsiteX0" fmla="*/ 0 w 573614"/>
                      <a:gd name="connsiteY0" fmla="*/ 83343 h 329050"/>
                      <a:gd name="connsiteX1" fmla="*/ 573614 w 573614"/>
                      <a:gd name="connsiteY1" fmla="*/ 0 h 329050"/>
                      <a:gd name="connsiteX2" fmla="*/ 573614 w 573614"/>
                      <a:gd name="connsiteY2" fmla="*/ 329050 h 329050"/>
                      <a:gd name="connsiteX3" fmla="*/ 38100 w 573614"/>
                      <a:gd name="connsiteY3" fmla="*/ 329050 h 329050"/>
                      <a:gd name="connsiteX4" fmla="*/ 0 w 573614"/>
                      <a:gd name="connsiteY4" fmla="*/ 83343 h 329050"/>
                      <a:gd name="connsiteX0" fmla="*/ 0 w 573614"/>
                      <a:gd name="connsiteY0" fmla="*/ 2380 h 248087"/>
                      <a:gd name="connsiteX1" fmla="*/ 533133 w 573614"/>
                      <a:gd name="connsiteY1" fmla="*/ 0 h 248087"/>
                      <a:gd name="connsiteX2" fmla="*/ 573614 w 573614"/>
                      <a:gd name="connsiteY2" fmla="*/ 248087 h 248087"/>
                      <a:gd name="connsiteX3" fmla="*/ 38100 w 573614"/>
                      <a:gd name="connsiteY3" fmla="*/ 248087 h 248087"/>
                      <a:gd name="connsiteX4" fmla="*/ 0 w 573614"/>
                      <a:gd name="connsiteY4" fmla="*/ 2380 h 248087"/>
                      <a:gd name="connsiteX0" fmla="*/ 0 w 573614"/>
                      <a:gd name="connsiteY0" fmla="*/ 28574 h 274281"/>
                      <a:gd name="connsiteX1" fmla="*/ 540277 w 573614"/>
                      <a:gd name="connsiteY1" fmla="*/ 0 h 274281"/>
                      <a:gd name="connsiteX2" fmla="*/ 573614 w 573614"/>
                      <a:gd name="connsiteY2" fmla="*/ 274281 h 274281"/>
                      <a:gd name="connsiteX3" fmla="*/ 38100 w 573614"/>
                      <a:gd name="connsiteY3" fmla="*/ 274281 h 274281"/>
                      <a:gd name="connsiteX4" fmla="*/ 0 w 573614"/>
                      <a:gd name="connsiteY4" fmla="*/ 28574 h 274281"/>
                      <a:gd name="connsiteX0" fmla="*/ 0 w 573614"/>
                      <a:gd name="connsiteY0" fmla="*/ 39543 h 285250"/>
                      <a:gd name="connsiteX1" fmla="*/ 540277 w 573614"/>
                      <a:gd name="connsiteY1" fmla="*/ 10969 h 285250"/>
                      <a:gd name="connsiteX2" fmla="*/ 573614 w 573614"/>
                      <a:gd name="connsiteY2" fmla="*/ 285250 h 285250"/>
                      <a:gd name="connsiteX3" fmla="*/ 38100 w 573614"/>
                      <a:gd name="connsiteY3" fmla="*/ 285250 h 285250"/>
                      <a:gd name="connsiteX4" fmla="*/ 0 w 573614"/>
                      <a:gd name="connsiteY4" fmla="*/ 39543 h 285250"/>
                      <a:gd name="connsiteX0" fmla="*/ 0 w 573614"/>
                      <a:gd name="connsiteY0" fmla="*/ 39543 h 285250"/>
                      <a:gd name="connsiteX1" fmla="*/ 540277 w 573614"/>
                      <a:gd name="connsiteY1" fmla="*/ 10969 h 285250"/>
                      <a:gd name="connsiteX2" fmla="*/ 573614 w 573614"/>
                      <a:gd name="connsiteY2" fmla="*/ 285250 h 285250"/>
                      <a:gd name="connsiteX3" fmla="*/ 38100 w 573614"/>
                      <a:gd name="connsiteY3" fmla="*/ 285250 h 285250"/>
                      <a:gd name="connsiteX4" fmla="*/ 0 w 573614"/>
                      <a:gd name="connsiteY4" fmla="*/ 39543 h 285250"/>
                      <a:gd name="connsiteX0" fmla="*/ 0 w 580758"/>
                      <a:gd name="connsiteY0" fmla="*/ 39543 h 285250"/>
                      <a:gd name="connsiteX1" fmla="*/ 540277 w 580758"/>
                      <a:gd name="connsiteY1" fmla="*/ 10969 h 285250"/>
                      <a:gd name="connsiteX2" fmla="*/ 580758 w 580758"/>
                      <a:gd name="connsiteY2" fmla="*/ 251913 h 285250"/>
                      <a:gd name="connsiteX3" fmla="*/ 38100 w 580758"/>
                      <a:gd name="connsiteY3" fmla="*/ 285250 h 285250"/>
                      <a:gd name="connsiteX4" fmla="*/ 0 w 580758"/>
                      <a:gd name="connsiteY4" fmla="*/ 39543 h 285250"/>
                      <a:gd name="connsiteX0" fmla="*/ 0 w 580758"/>
                      <a:gd name="connsiteY0" fmla="*/ 39543 h 285250"/>
                      <a:gd name="connsiteX1" fmla="*/ 540277 w 580758"/>
                      <a:gd name="connsiteY1" fmla="*/ 10969 h 285250"/>
                      <a:gd name="connsiteX2" fmla="*/ 580758 w 580758"/>
                      <a:gd name="connsiteY2" fmla="*/ 251913 h 285250"/>
                      <a:gd name="connsiteX3" fmla="*/ 38100 w 580758"/>
                      <a:gd name="connsiteY3" fmla="*/ 285250 h 285250"/>
                      <a:gd name="connsiteX4" fmla="*/ 0 w 580758"/>
                      <a:gd name="connsiteY4" fmla="*/ 39543 h 285250"/>
                      <a:gd name="connsiteX0" fmla="*/ 0 w 580758"/>
                      <a:gd name="connsiteY0" fmla="*/ 39543 h 285250"/>
                      <a:gd name="connsiteX1" fmla="*/ 540277 w 580758"/>
                      <a:gd name="connsiteY1" fmla="*/ 10969 h 285250"/>
                      <a:gd name="connsiteX2" fmla="*/ 580758 w 580758"/>
                      <a:gd name="connsiteY2" fmla="*/ 251913 h 285250"/>
                      <a:gd name="connsiteX3" fmla="*/ 38100 w 580758"/>
                      <a:gd name="connsiteY3" fmla="*/ 285250 h 285250"/>
                      <a:gd name="connsiteX4" fmla="*/ 0 w 580758"/>
                      <a:gd name="connsiteY4" fmla="*/ 39543 h 285250"/>
                      <a:gd name="connsiteX0" fmla="*/ 0 w 580758"/>
                      <a:gd name="connsiteY0" fmla="*/ 39543 h 285250"/>
                      <a:gd name="connsiteX1" fmla="*/ 540277 w 580758"/>
                      <a:gd name="connsiteY1" fmla="*/ 10969 h 285250"/>
                      <a:gd name="connsiteX2" fmla="*/ 580758 w 580758"/>
                      <a:gd name="connsiteY2" fmla="*/ 251913 h 285250"/>
                      <a:gd name="connsiteX3" fmla="*/ 38100 w 580758"/>
                      <a:gd name="connsiteY3" fmla="*/ 285250 h 285250"/>
                      <a:gd name="connsiteX4" fmla="*/ 0 w 580758"/>
                      <a:gd name="connsiteY4" fmla="*/ 39543 h 285250"/>
                      <a:gd name="connsiteX0" fmla="*/ 0 w 580758"/>
                      <a:gd name="connsiteY0" fmla="*/ 39543 h 285250"/>
                      <a:gd name="connsiteX1" fmla="*/ 540277 w 580758"/>
                      <a:gd name="connsiteY1" fmla="*/ 10969 h 285250"/>
                      <a:gd name="connsiteX2" fmla="*/ 580758 w 580758"/>
                      <a:gd name="connsiteY2" fmla="*/ 251913 h 285250"/>
                      <a:gd name="connsiteX3" fmla="*/ 38100 w 580758"/>
                      <a:gd name="connsiteY3" fmla="*/ 285250 h 285250"/>
                      <a:gd name="connsiteX4" fmla="*/ 0 w 580758"/>
                      <a:gd name="connsiteY4" fmla="*/ 39543 h 285250"/>
                      <a:gd name="connsiteX0" fmla="*/ 0 w 580758"/>
                      <a:gd name="connsiteY0" fmla="*/ 42071 h 287778"/>
                      <a:gd name="connsiteX1" fmla="*/ 540277 w 580758"/>
                      <a:gd name="connsiteY1" fmla="*/ 13497 h 287778"/>
                      <a:gd name="connsiteX2" fmla="*/ 580758 w 580758"/>
                      <a:gd name="connsiteY2" fmla="*/ 254441 h 287778"/>
                      <a:gd name="connsiteX3" fmla="*/ 38100 w 580758"/>
                      <a:gd name="connsiteY3" fmla="*/ 287778 h 287778"/>
                      <a:gd name="connsiteX4" fmla="*/ 0 w 580758"/>
                      <a:gd name="connsiteY4" fmla="*/ 42071 h 287778"/>
                      <a:gd name="connsiteX0" fmla="*/ 0 w 580758"/>
                      <a:gd name="connsiteY0" fmla="*/ 28574 h 274281"/>
                      <a:gd name="connsiteX1" fmla="*/ 540277 w 580758"/>
                      <a:gd name="connsiteY1" fmla="*/ 0 h 274281"/>
                      <a:gd name="connsiteX2" fmla="*/ 580758 w 580758"/>
                      <a:gd name="connsiteY2" fmla="*/ 240944 h 274281"/>
                      <a:gd name="connsiteX3" fmla="*/ 38100 w 580758"/>
                      <a:gd name="connsiteY3" fmla="*/ 274281 h 274281"/>
                      <a:gd name="connsiteX4" fmla="*/ 0 w 580758"/>
                      <a:gd name="connsiteY4" fmla="*/ 28574 h 274281"/>
                      <a:gd name="connsiteX0" fmla="*/ 0 w 580758"/>
                      <a:gd name="connsiteY0" fmla="*/ 33987 h 279694"/>
                      <a:gd name="connsiteX1" fmla="*/ 540277 w 580758"/>
                      <a:gd name="connsiteY1" fmla="*/ 5413 h 279694"/>
                      <a:gd name="connsiteX2" fmla="*/ 580758 w 580758"/>
                      <a:gd name="connsiteY2" fmla="*/ 246357 h 279694"/>
                      <a:gd name="connsiteX3" fmla="*/ 38100 w 580758"/>
                      <a:gd name="connsiteY3" fmla="*/ 279694 h 279694"/>
                      <a:gd name="connsiteX4" fmla="*/ 0 w 580758"/>
                      <a:gd name="connsiteY4" fmla="*/ 33987 h 279694"/>
                      <a:gd name="connsiteX0" fmla="*/ 0 w 580758"/>
                      <a:gd name="connsiteY0" fmla="*/ 29280 h 274987"/>
                      <a:gd name="connsiteX1" fmla="*/ 540277 w 580758"/>
                      <a:gd name="connsiteY1" fmla="*/ 706 h 274987"/>
                      <a:gd name="connsiteX2" fmla="*/ 580758 w 580758"/>
                      <a:gd name="connsiteY2" fmla="*/ 241650 h 274987"/>
                      <a:gd name="connsiteX3" fmla="*/ 38100 w 580758"/>
                      <a:gd name="connsiteY3" fmla="*/ 274987 h 274987"/>
                      <a:gd name="connsiteX4" fmla="*/ 0 w 580758"/>
                      <a:gd name="connsiteY4" fmla="*/ 29280 h 274987"/>
                      <a:gd name="connsiteX0" fmla="*/ 0 w 580758"/>
                      <a:gd name="connsiteY0" fmla="*/ 36653 h 282360"/>
                      <a:gd name="connsiteX1" fmla="*/ 540277 w 580758"/>
                      <a:gd name="connsiteY1" fmla="*/ 8079 h 282360"/>
                      <a:gd name="connsiteX2" fmla="*/ 580758 w 580758"/>
                      <a:gd name="connsiteY2" fmla="*/ 249023 h 282360"/>
                      <a:gd name="connsiteX3" fmla="*/ 38100 w 580758"/>
                      <a:gd name="connsiteY3" fmla="*/ 282360 h 282360"/>
                      <a:gd name="connsiteX4" fmla="*/ 0 w 580758"/>
                      <a:gd name="connsiteY4" fmla="*/ 36653 h 282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0758" h="282360">
                        <a:moveTo>
                          <a:pt x="0" y="36653"/>
                        </a:moveTo>
                        <a:cubicBezTo>
                          <a:pt x="161041" y="-53834"/>
                          <a:pt x="403048" y="58085"/>
                          <a:pt x="540277" y="8079"/>
                        </a:cubicBezTo>
                        <a:cubicBezTo>
                          <a:pt x="572820" y="151893"/>
                          <a:pt x="569646" y="157596"/>
                          <a:pt x="580758" y="249023"/>
                        </a:cubicBezTo>
                        <a:cubicBezTo>
                          <a:pt x="428447" y="333954"/>
                          <a:pt x="361861" y="185524"/>
                          <a:pt x="38100" y="282360"/>
                        </a:cubicBezTo>
                        <a:lnTo>
                          <a:pt x="0" y="3665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noProof="1"/>
                  </a:p>
                </p:txBody>
              </p:sp>
              <p:grpSp>
                <p:nvGrpSpPr>
                  <p:cNvPr id="46" name="Group 128"/>
                  <p:cNvGrpSpPr/>
                  <p:nvPr/>
                </p:nvGrpSpPr>
                <p:grpSpPr>
                  <a:xfrm>
                    <a:off x="3804426" y="2963234"/>
                    <a:ext cx="610953" cy="366119"/>
                    <a:chOff x="1430434" y="1437892"/>
                    <a:chExt cx="855663" cy="512763"/>
                  </a:xfrm>
                  <a:grpFill/>
                </p:grpSpPr>
                <p:sp>
                  <p:nvSpPr>
                    <p:cNvPr id="47" name="Freeform 15"/>
                    <p:cNvSpPr>
                      <a:spLocks noEditPoints="1"/>
                    </p:cNvSpPr>
                    <p:nvPr/>
                  </p:nvSpPr>
                  <p:spPr bwMode="auto">
                    <a:xfrm>
                      <a:off x="1430434" y="1437892"/>
                      <a:ext cx="855663" cy="512763"/>
                    </a:xfrm>
                    <a:custGeom>
                      <a:avLst/>
                      <a:gdLst>
                        <a:gd name="T0" fmla="*/ 68 w 240"/>
                        <a:gd name="T1" fmla="*/ 117 h 144"/>
                        <a:gd name="T2" fmla="*/ 206 w 240"/>
                        <a:gd name="T3" fmla="*/ 131 h 144"/>
                        <a:gd name="T4" fmla="*/ 240 w 240"/>
                        <a:gd name="T5" fmla="*/ 118 h 144"/>
                        <a:gd name="T6" fmla="*/ 221 w 240"/>
                        <a:gd name="T7" fmla="*/ 9 h 144"/>
                        <a:gd name="T8" fmla="*/ 184 w 240"/>
                        <a:gd name="T9" fmla="*/ 18 h 144"/>
                        <a:gd name="T10" fmla="*/ 47 w 240"/>
                        <a:gd name="T11" fmla="*/ 6 h 144"/>
                        <a:gd name="T12" fmla="*/ 0 w 240"/>
                        <a:gd name="T13" fmla="*/ 36 h 144"/>
                        <a:gd name="T14" fmla="*/ 19 w 240"/>
                        <a:gd name="T15" fmla="*/ 144 h 144"/>
                        <a:gd name="T16" fmla="*/ 68 w 240"/>
                        <a:gd name="T17" fmla="*/ 117 h 144"/>
                        <a:gd name="T18" fmla="*/ 56 w 240"/>
                        <a:gd name="T19" fmla="*/ 20 h 144"/>
                        <a:gd name="T20" fmla="*/ 157 w 240"/>
                        <a:gd name="T21" fmla="*/ 28 h 144"/>
                        <a:gd name="T22" fmla="*/ 217 w 240"/>
                        <a:gd name="T23" fmla="*/ 71 h 144"/>
                        <a:gd name="T24" fmla="*/ 187 w 240"/>
                        <a:gd name="T25" fmla="*/ 118 h 144"/>
                        <a:gd name="T26" fmla="*/ 82 w 240"/>
                        <a:gd name="T27" fmla="*/ 107 h 144"/>
                        <a:gd name="T28" fmla="*/ 23 w 240"/>
                        <a:gd name="T29" fmla="*/ 78 h 144"/>
                        <a:gd name="T30" fmla="*/ 56 w 240"/>
                        <a:gd name="T31" fmla="*/ 2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0" h="144">
                          <a:moveTo>
                            <a:pt x="68" y="117"/>
                          </a:moveTo>
                          <a:cubicBezTo>
                            <a:pt x="101" y="113"/>
                            <a:pt x="178" y="135"/>
                            <a:pt x="206" y="131"/>
                          </a:cubicBezTo>
                          <a:cubicBezTo>
                            <a:pt x="233" y="127"/>
                            <a:pt x="240" y="118"/>
                            <a:pt x="240" y="118"/>
                          </a:cubicBezTo>
                          <a:cubicBezTo>
                            <a:pt x="221" y="9"/>
                            <a:pt x="221" y="9"/>
                            <a:pt x="221" y="9"/>
                          </a:cubicBezTo>
                          <a:cubicBezTo>
                            <a:pt x="221" y="9"/>
                            <a:pt x="210" y="14"/>
                            <a:pt x="184" y="18"/>
                          </a:cubicBezTo>
                          <a:cubicBezTo>
                            <a:pt x="158" y="21"/>
                            <a:pt x="89" y="0"/>
                            <a:pt x="47" y="6"/>
                          </a:cubicBezTo>
                          <a:cubicBezTo>
                            <a:pt x="6" y="12"/>
                            <a:pt x="0" y="36"/>
                            <a:pt x="0" y="36"/>
                          </a:cubicBezTo>
                          <a:cubicBezTo>
                            <a:pt x="19" y="144"/>
                            <a:pt x="19" y="144"/>
                            <a:pt x="19" y="144"/>
                          </a:cubicBezTo>
                          <a:cubicBezTo>
                            <a:pt x="19" y="144"/>
                            <a:pt x="36" y="122"/>
                            <a:pt x="68" y="117"/>
                          </a:cubicBezTo>
                          <a:close/>
                          <a:moveTo>
                            <a:pt x="56" y="20"/>
                          </a:moveTo>
                          <a:cubicBezTo>
                            <a:pt x="99" y="13"/>
                            <a:pt x="125" y="25"/>
                            <a:pt x="157" y="28"/>
                          </a:cubicBezTo>
                          <a:cubicBezTo>
                            <a:pt x="189" y="31"/>
                            <a:pt x="212" y="43"/>
                            <a:pt x="217" y="71"/>
                          </a:cubicBezTo>
                          <a:cubicBezTo>
                            <a:pt x="222" y="99"/>
                            <a:pt x="207" y="116"/>
                            <a:pt x="187" y="118"/>
                          </a:cubicBezTo>
                          <a:cubicBezTo>
                            <a:pt x="173" y="120"/>
                            <a:pt x="120" y="102"/>
                            <a:pt x="82" y="107"/>
                          </a:cubicBezTo>
                          <a:cubicBezTo>
                            <a:pt x="42" y="113"/>
                            <a:pt x="27" y="90"/>
                            <a:pt x="23" y="78"/>
                          </a:cubicBezTo>
                          <a:cubicBezTo>
                            <a:pt x="20" y="67"/>
                            <a:pt x="13" y="26"/>
                            <a:pt x="56"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noProof="1"/>
                    </a:p>
                  </p:txBody>
                </p:sp>
                <p:sp>
                  <p:nvSpPr>
                    <p:cNvPr id="48" name="Freeform 16"/>
                    <p:cNvSpPr>
                      <a:spLocks/>
                    </p:cNvSpPr>
                    <p:nvPr/>
                  </p:nvSpPr>
                  <p:spPr bwMode="auto">
                    <a:xfrm>
                      <a:off x="2062259" y="1661730"/>
                      <a:ext cx="77788" cy="68263"/>
                    </a:xfrm>
                    <a:custGeom>
                      <a:avLst/>
                      <a:gdLst>
                        <a:gd name="T0" fmla="*/ 5 w 22"/>
                        <a:gd name="T1" fmla="*/ 17 h 19"/>
                        <a:gd name="T2" fmla="*/ 18 w 22"/>
                        <a:gd name="T3" fmla="*/ 14 h 19"/>
                        <a:gd name="T4" fmla="*/ 17 w 22"/>
                        <a:gd name="T5" fmla="*/ 2 h 19"/>
                        <a:gd name="T6" fmla="*/ 3 w 22"/>
                        <a:gd name="T7" fmla="*/ 5 h 19"/>
                        <a:gd name="T8" fmla="*/ 5 w 22"/>
                        <a:gd name="T9" fmla="*/ 17 h 19"/>
                      </a:gdLst>
                      <a:ahLst/>
                      <a:cxnLst>
                        <a:cxn ang="0">
                          <a:pos x="T0" y="T1"/>
                        </a:cxn>
                        <a:cxn ang="0">
                          <a:pos x="T2" y="T3"/>
                        </a:cxn>
                        <a:cxn ang="0">
                          <a:pos x="T4" y="T5"/>
                        </a:cxn>
                        <a:cxn ang="0">
                          <a:pos x="T6" y="T7"/>
                        </a:cxn>
                        <a:cxn ang="0">
                          <a:pos x="T8" y="T9"/>
                        </a:cxn>
                      </a:cxnLst>
                      <a:rect l="0" t="0" r="r" b="b"/>
                      <a:pathLst>
                        <a:path w="22" h="19">
                          <a:moveTo>
                            <a:pt x="5" y="17"/>
                          </a:moveTo>
                          <a:cubicBezTo>
                            <a:pt x="9" y="19"/>
                            <a:pt x="15" y="18"/>
                            <a:pt x="18" y="14"/>
                          </a:cubicBezTo>
                          <a:cubicBezTo>
                            <a:pt x="22" y="10"/>
                            <a:pt x="21" y="5"/>
                            <a:pt x="17" y="2"/>
                          </a:cubicBezTo>
                          <a:cubicBezTo>
                            <a:pt x="12" y="0"/>
                            <a:pt x="6" y="1"/>
                            <a:pt x="3" y="5"/>
                          </a:cubicBezTo>
                          <a:cubicBezTo>
                            <a:pt x="0" y="9"/>
                            <a:pt x="1" y="14"/>
                            <a:pt x="5"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noProof="1"/>
                    </a:p>
                  </p:txBody>
                </p:sp>
                <p:sp>
                  <p:nvSpPr>
                    <p:cNvPr id="49" name="Freeform 17"/>
                    <p:cNvSpPr>
                      <a:spLocks/>
                    </p:cNvSpPr>
                    <p:nvPr/>
                  </p:nvSpPr>
                  <p:spPr bwMode="auto">
                    <a:xfrm>
                      <a:off x="1573309" y="1626805"/>
                      <a:ext cx="71438" cy="71438"/>
                    </a:xfrm>
                    <a:custGeom>
                      <a:avLst/>
                      <a:gdLst>
                        <a:gd name="T0" fmla="*/ 5 w 20"/>
                        <a:gd name="T1" fmla="*/ 17 h 20"/>
                        <a:gd name="T2" fmla="*/ 17 w 20"/>
                        <a:gd name="T3" fmla="*/ 15 h 20"/>
                        <a:gd name="T4" fmla="*/ 15 w 20"/>
                        <a:gd name="T5" fmla="*/ 3 h 20"/>
                        <a:gd name="T6" fmla="*/ 3 w 20"/>
                        <a:gd name="T7" fmla="*/ 5 h 20"/>
                        <a:gd name="T8" fmla="*/ 5 w 20"/>
                        <a:gd name="T9" fmla="*/ 17 h 20"/>
                      </a:gdLst>
                      <a:ahLst/>
                      <a:cxnLst>
                        <a:cxn ang="0">
                          <a:pos x="T0" y="T1"/>
                        </a:cxn>
                        <a:cxn ang="0">
                          <a:pos x="T2" y="T3"/>
                        </a:cxn>
                        <a:cxn ang="0">
                          <a:pos x="T4" y="T5"/>
                        </a:cxn>
                        <a:cxn ang="0">
                          <a:pos x="T6" y="T7"/>
                        </a:cxn>
                        <a:cxn ang="0">
                          <a:pos x="T8" y="T9"/>
                        </a:cxn>
                      </a:cxnLst>
                      <a:rect l="0" t="0" r="r" b="b"/>
                      <a:pathLst>
                        <a:path w="20" h="20">
                          <a:moveTo>
                            <a:pt x="5" y="17"/>
                          </a:moveTo>
                          <a:cubicBezTo>
                            <a:pt x="9" y="20"/>
                            <a:pt x="14" y="19"/>
                            <a:pt x="17" y="15"/>
                          </a:cubicBezTo>
                          <a:cubicBezTo>
                            <a:pt x="20" y="11"/>
                            <a:pt x="20" y="6"/>
                            <a:pt x="15" y="3"/>
                          </a:cubicBezTo>
                          <a:cubicBezTo>
                            <a:pt x="11" y="0"/>
                            <a:pt x="6" y="1"/>
                            <a:pt x="3" y="5"/>
                          </a:cubicBezTo>
                          <a:cubicBezTo>
                            <a:pt x="0" y="9"/>
                            <a:pt x="1" y="14"/>
                            <a:pt x="5"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noProof="1"/>
                    </a:p>
                  </p:txBody>
                </p:sp>
                <p:sp>
                  <p:nvSpPr>
                    <p:cNvPr id="50" name="Freeform 23"/>
                    <p:cNvSpPr>
                      <a:spLocks/>
                    </p:cNvSpPr>
                    <p:nvPr/>
                  </p:nvSpPr>
                  <p:spPr bwMode="auto">
                    <a:xfrm>
                      <a:off x="1701896" y="1523617"/>
                      <a:ext cx="306388" cy="288925"/>
                    </a:xfrm>
                    <a:custGeom>
                      <a:avLst/>
                      <a:gdLst>
                        <a:gd name="T0" fmla="*/ 67 w 86"/>
                        <a:gd name="T1" fmla="*/ 20 h 81"/>
                        <a:gd name="T2" fmla="*/ 13 w 86"/>
                        <a:gd name="T3" fmla="*/ 11 h 81"/>
                        <a:gd name="T4" fmla="*/ 18 w 86"/>
                        <a:gd name="T5" fmla="*/ 61 h 81"/>
                        <a:gd name="T6" fmla="*/ 72 w 86"/>
                        <a:gd name="T7" fmla="*/ 70 h 81"/>
                        <a:gd name="T8" fmla="*/ 67 w 86"/>
                        <a:gd name="T9" fmla="*/ 20 h 81"/>
                      </a:gdLst>
                      <a:ahLst/>
                      <a:cxnLst>
                        <a:cxn ang="0">
                          <a:pos x="T0" y="T1"/>
                        </a:cxn>
                        <a:cxn ang="0">
                          <a:pos x="T2" y="T3"/>
                        </a:cxn>
                        <a:cxn ang="0">
                          <a:pos x="T4" y="T5"/>
                        </a:cxn>
                        <a:cxn ang="0">
                          <a:pos x="T6" y="T7"/>
                        </a:cxn>
                        <a:cxn ang="0">
                          <a:pos x="T8" y="T9"/>
                        </a:cxn>
                      </a:cxnLst>
                      <a:rect l="0" t="0" r="r" b="b"/>
                      <a:pathLst>
                        <a:path w="86" h="81">
                          <a:moveTo>
                            <a:pt x="67" y="20"/>
                          </a:moveTo>
                          <a:cubicBezTo>
                            <a:pt x="51" y="4"/>
                            <a:pt x="27" y="0"/>
                            <a:pt x="13" y="11"/>
                          </a:cubicBezTo>
                          <a:cubicBezTo>
                            <a:pt x="0" y="22"/>
                            <a:pt x="2" y="45"/>
                            <a:pt x="18" y="61"/>
                          </a:cubicBezTo>
                          <a:cubicBezTo>
                            <a:pt x="35" y="77"/>
                            <a:pt x="59" y="81"/>
                            <a:pt x="72" y="70"/>
                          </a:cubicBezTo>
                          <a:cubicBezTo>
                            <a:pt x="86" y="58"/>
                            <a:pt x="83" y="36"/>
                            <a:pt x="67"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en-US" sz="900" noProof="1">
                        <a:solidFill>
                          <a:schemeClr val="bg1"/>
                        </a:solidFill>
                      </a:endParaRPr>
                    </a:p>
                  </p:txBody>
                </p:sp>
              </p:grpSp>
            </p:grpSp>
          </p:grpSp>
        </p:grpSp>
      </p:grpSp>
      <p:grpSp>
        <p:nvGrpSpPr>
          <p:cNvPr id="53" name="Group 122"/>
          <p:cNvGrpSpPr/>
          <p:nvPr/>
        </p:nvGrpSpPr>
        <p:grpSpPr>
          <a:xfrm>
            <a:off x="4390512" y="2724441"/>
            <a:ext cx="916305" cy="990933"/>
            <a:chOff x="1647955" y="1194792"/>
            <a:chExt cx="916305" cy="990933"/>
          </a:xfrm>
        </p:grpSpPr>
        <p:sp>
          <p:nvSpPr>
            <p:cNvPr id="54" name="Freeform 7"/>
            <p:cNvSpPr>
              <a:spLocks/>
            </p:cNvSpPr>
            <p:nvPr/>
          </p:nvSpPr>
          <p:spPr bwMode="auto">
            <a:xfrm>
              <a:off x="1647955" y="1194792"/>
              <a:ext cx="916305" cy="370708"/>
            </a:xfrm>
            <a:prstGeom prst="rect">
              <a:avLst/>
            </a:prstGeom>
            <a:solidFill>
              <a:schemeClr val="bg1"/>
            </a:solidFill>
            <a:ln w="9525" algn="ctr">
              <a:noFill/>
              <a:miter lim="800000"/>
              <a:headEnd type="none" w="lg" len="lg"/>
              <a:tailEnd type="none" w="lg" len="lg"/>
            </a:ln>
          </p:spPr>
          <p:txBody>
            <a:bodyPr lIns="0" tIns="0" rIns="0" bIns="0" anchor="ctr"/>
            <a:lstStyle/>
            <a:p>
              <a:pPr algn="ctr" defTabSz="1040767">
                <a:lnSpc>
                  <a:spcPct val="90000"/>
                </a:lnSpc>
              </a:pPr>
              <a:r>
                <a:rPr lang="en-US" sz="900" b="1" noProof="1">
                  <a:solidFill>
                    <a:schemeClr val="tx2"/>
                  </a:solidFill>
                  <a:ea typeface="ヒラギノ角ゴ Pro W3"/>
                  <a:cs typeface="ヒラギノ角ゴ Pro W3"/>
                </a:rPr>
                <a:t>Investor</a:t>
              </a:r>
            </a:p>
            <a:p>
              <a:pPr algn="ctr" defTabSz="1040767">
                <a:lnSpc>
                  <a:spcPct val="90000"/>
                </a:lnSpc>
              </a:pPr>
              <a:r>
                <a:rPr lang="en-US" sz="900" b="1" noProof="1">
                  <a:solidFill>
                    <a:schemeClr val="tx2"/>
                  </a:solidFill>
                  <a:ea typeface="ヒラギノ角ゴ Pro W3"/>
                  <a:cs typeface="ヒラギノ角ゴ Pro W3"/>
                </a:rPr>
                <a:t>identification</a:t>
              </a:r>
            </a:p>
          </p:txBody>
        </p:sp>
        <p:grpSp>
          <p:nvGrpSpPr>
            <p:cNvPr id="55" name="Group 100"/>
            <p:cNvGrpSpPr/>
            <p:nvPr/>
          </p:nvGrpSpPr>
          <p:grpSpPr>
            <a:xfrm>
              <a:off x="1818075" y="1609661"/>
              <a:ext cx="576064" cy="576064"/>
              <a:chOff x="1818075" y="1609661"/>
              <a:chExt cx="576064" cy="576064"/>
            </a:xfrm>
          </p:grpSpPr>
          <p:sp>
            <p:nvSpPr>
              <p:cNvPr id="56" name="Rectangle 55"/>
              <p:cNvSpPr/>
              <p:nvPr/>
            </p:nvSpPr>
            <p:spPr>
              <a:xfrm>
                <a:off x="1818075" y="1609661"/>
                <a:ext cx="576064" cy="57606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57" name="Group 48"/>
              <p:cNvGrpSpPr/>
              <p:nvPr/>
            </p:nvGrpSpPr>
            <p:grpSpPr>
              <a:xfrm>
                <a:off x="1900735" y="1769269"/>
                <a:ext cx="410745" cy="256848"/>
                <a:chOff x="9471025" y="3811588"/>
                <a:chExt cx="1241426" cy="776288"/>
              </a:xfrm>
              <a:solidFill>
                <a:schemeClr val="bg1"/>
              </a:solidFill>
            </p:grpSpPr>
            <p:sp>
              <p:nvSpPr>
                <p:cNvPr id="58" name="Oval 8"/>
                <p:cNvSpPr>
                  <a:spLocks noChangeArrowheads="1"/>
                </p:cNvSpPr>
                <p:nvPr/>
              </p:nvSpPr>
              <p:spPr bwMode="auto">
                <a:xfrm>
                  <a:off x="9598025" y="3941763"/>
                  <a:ext cx="265113" cy="333375"/>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59" name="Freeform 9"/>
                <p:cNvSpPr>
                  <a:spLocks/>
                </p:cNvSpPr>
                <p:nvPr/>
              </p:nvSpPr>
              <p:spPr bwMode="auto">
                <a:xfrm>
                  <a:off x="9701213" y="4310063"/>
                  <a:ext cx="58738" cy="198438"/>
                </a:xfrm>
                <a:custGeom>
                  <a:avLst/>
                  <a:gdLst>
                    <a:gd name="T0" fmla="*/ 37 w 37"/>
                    <a:gd name="T1" fmla="*/ 22 h 125"/>
                    <a:gd name="T2" fmla="*/ 18 w 37"/>
                    <a:gd name="T3" fmla="*/ 0 h 125"/>
                    <a:gd name="T4" fmla="*/ 0 w 37"/>
                    <a:gd name="T5" fmla="*/ 22 h 125"/>
                    <a:gd name="T6" fmla="*/ 13 w 37"/>
                    <a:gd name="T7" fmla="*/ 22 h 125"/>
                    <a:gd name="T8" fmla="*/ 0 w 37"/>
                    <a:gd name="T9" fmla="*/ 77 h 125"/>
                    <a:gd name="T10" fmla="*/ 18 w 37"/>
                    <a:gd name="T11" fmla="*/ 125 h 125"/>
                    <a:gd name="T12" fmla="*/ 37 w 37"/>
                    <a:gd name="T13" fmla="*/ 77 h 125"/>
                    <a:gd name="T14" fmla="*/ 23 w 37"/>
                    <a:gd name="T15" fmla="*/ 22 h 125"/>
                    <a:gd name="T16" fmla="*/ 37 w 37"/>
                    <a:gd name="T17" fmla="*/ 2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125">
                      <a:moveTo>
                        <a:pt x="37" y="22"/>
                      </a:moveTo>
                      <a:lnTo>
                        <a:pt x="18" y="0"/>
                      </a:lnTo>
                      <a:lnTo>
                        <a:pt x="0" y="22"/>
                      </a:lnTo>
                      <a:lnTo>
                        <a:pt x="13" y="22"/>
                      </a:lnTo>
                      <a:lnTo>
                        <a:pt x="0" y="77"/>
                      </a:lnTo>
                      <a:lnTo>
                        <a:pt x="18" y="125"/>
                      </a:lnTo>
                      <a:lnTo>
                        <a:pt x="37" y="77"/>
                      </a:lnTo>
                      <a:lnTo>
                        <a:pt x="23" y="22"/>
                      </a:lnTo>
                      <a:lnTo>
                        <a:pt x="37" y="22"/>
                      </a:lnTo>
                      <a:close/>
                    </a:path>
                  </a:pathLst>
                </a:cu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60" name="Oval 10"/>
                <p:cNvSpPr>
                  <a:spLocks noChangeArrowheads="1"/>
                </p:cNvSpPr>
                <p:nvPr/>
              </p:nvSpPr>
              <p:spPr bwMode="auto">
                <a:xfrm>
                  <a:off x="10336213" y="3941763"/>
                  <a:ext cx="265113" cy="333375"/>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61" name="Freeform 11"/>
                <p:cNvSpPr>
                  <a:spLocks/>
                </p:cNvSpPr>
                <p:nvPr/>
              </p:nvSpPr>
              <p:spPr bwMode="auto">
                <a:xfrm>
                  <a:off x="10439400" y="4310063"/>
                  <a:ext cx="58738" cy="198438"/>
                </a:xfrm>
                <a:custGeom>
                  <a:avLst/>
                  <a:gdLst>
                    <a:gd name="T0" fmla="*/ 37 w 37"/>
                    <a:gd name="T1" fmla="*/ 22 h 125"/>
                    <a:gd name="T2" fmla="*/ 19 w 37"/>
                    <a:gd name="T3" fmla="*/ 0 h 125"/>
                    <a:gd name="T4" fmla="*/ 0 w 37"/>
                    <a:gd name="T5" fmla="*/ 22 h 125"/>
                    <a:gd name="T6" fmla="*/ 14 w 37"/>
                    <a:gd name="T7" fmla="*/ 22 h 125"/>
                    <a:gd name="T8" fmla="*/ 0 w 37"/>
                    <a:gd name="T9" fmla="*/ 77 h 125"/>
                    <a:gd name="T10" fmla="*/ 19 w 37"/>
                    <a:gd name="T11" fmla="*/ 125 h 125"/>
                    <a:gd name="T12" fmla="*/ 37 w 37"/>
                    <a:gd name="T13" fmla="*/ 77 h 125"/>
                    <a:gd name="T14" fmla="*/ 24 w 37"/>
                    <a:gd name="T15" fmla="*/ 22 h 125"/>
                    <a:gd name="T16" fmla="*/ 37 w 37"/>
                    <a:gd name="T17" fmla="*/ 2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125">
                      <a:moveTo>
                        <a:pt x="37" y="22"/>
                      </a:moveTo>
                      <a:lnTo>
                        <a:pt x="19" y="0"/>
                      </a:lnTo>
                      <a:lnTo>
                        <a:pt x="0" y="22"/>
                      </a:lnTo>
                      <a:lnTo>
                        <a:pt x="14" y="22"/>
                      </a:lnTo>
                      <a:lnTo>
                        <a:pt x="0" y="77"/>
                      </a:lnTo>
                      <a:lnTo>
                        <a:pt x="19" y="125"/>
                      </a:lnTo>
                      <a:lnTo>
                        <a:pt x="37" y="77"/>
                      </a:lnTo>
                      <a:lnTo>
                        <a:pt x="24" y="22"/>
                      </a:lnTo>
                      <a:lnTo>
                        <a:pt x="37" y="22"/>
                      </a:lnTo>
                      <a:close/>
                    </a:path>
                  </a:pathLst>
                </a:cu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62" name="Oval 51"/>
                <p:cNvSpPr>
                  <a:spLocks noChangeArrowheads="1"/>
                </p:cNvSpPr>
                <p:nvPr/>
              </p:nvSpPr>
              <p:spPr bwMode="auto">
                <a:xfrm>
                  <a:off x="9939338" y="3811588"/>
                  <a:ext cx="317500" cy="400050"/>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63" name="Freeform 52"/>
                <p:cNvSpPr>
                  <a:spLocks/>
                </p:cNvSpPr>
                <p:nvPr/>
              </p:nvSpPr>
              <p:spPr bwMode="auto">
                <a:xfrm>
                  <a:off x="10063163" y="4254501"/>
                  <a:ext cx="71438" cy="238125"/>
                </a:xfrm>
                <a:custGeom>
                  <a:avLst/>
                  <a:gdLst>
                    <a:gd name="T0" fmla="*/ 45 w 45"/>
                    <a:gd name="T1" fmla="*/ 27 h 150"/>
                    <a:gd name="T2" fmla="*/ 22 w 45"/>
                    <a:gd name="T3" fmla="*/ 0 h 150"/>
                    <a:gd name="T4" fmla="*/ 0 w 45"/>
                    <a:gd name="T5" fmla="*/ 27 h 150"/>
                    <a:gd name="T6" fmla="*/ 17 w 45"/>
                    <a:gd name="T7" fmla="*/ 27 h 150"/>
                    <a:gd name="T8" fmla="*/ 0 w 45"/>
                    <a:gd name="T9" fmla="*/ 93 h 150"/>
                    <a:gd name="T10" fmla="*/ 22 w 45"/>
                    <a:gd name="T11" fmla="*/ 150 h 150"/>
                    <a:gd name="T12" fmla="*/ 45 w 45"/>
                    <a:gd name="T13" fmla="*/ 93 h 150"/>
                    <a:gd name="T14" fmla="*/ 29 w 45"/>
                    <a:gd name="T15" fmla="*/ 27 h 150"/>
                    <a:gd name="T16" fmla="*/ 45 w 45"/>
                    <a:gd name="T17" fmla="*/ 27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150">
                      <a:moveTo>
                        <a:pt x="45" y="27"/>
                      </a:moveTo>
                      <a:lnTo>
                        <a:pt x="22" y="0"/>
                      </a:lnTo>
                      <a:lnTo>
                        <a:pt x="0" y="27"/>
                      </a:lnTo>
                      <a:lnTo>
                        <a:pt x="17" y="27"/>
                      </a:lnTo>
                      <a:lnTo>
                        <a:pt x="0" y="93"/>
                      </a:lnTo>
                      <a:lnTo>
                        <a:pt x="22" y="150"/>
                      </a:lnTo>
                      <a:lnTo>
                        <a:pt x="45" y="93"/>
                      </a:lnTo>
                      <a:lnTo>
                        <a:pt x="29" y="27"/>
                      </a:lnTo>
                      <a:lnTo>
                        <a:pt x="45" y="27"/>
                      </a:lnTo>
                      <a:close/>
                    </a:path>
                  </a:pathLst>
                </a:cu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64" name="Freeform 53"/>
                <p:cNvSpPr>
                  <a:spLocks/>
                </p:cNvSpPr>
                <p:nvPr/>
              </p:nvSpPr>
              <p:spPr bwMode="auto">
                <a:xfrm>
                  <a:off x="10421938" y="4294188"/>
                  <a:ext cx="290513" cy="293688"/>
                </a:xfrm>
                <a:custGeom>
                  <a:avLst/>
                  <a:gdLst>
                    <a:gd name="T0" fmla="*/ 80 w 110"/>
                    <a:gd name="T1" fmla="*/ 0 h 111"/>
                    <a:gd name="T2" fmla="*/ 63 w 110"/>
                    <a:gd name="T3" fmla="*/ 0 h 111"/>
                    <a:gd name="T4" fmla="*/ 18 w 110"/>
                    <a:gd name="T5" fmla="*/ 109 h 111"/>
                    <a:gd name="T6" fmla="*/ 0 w 110"/>
                    <a:gd name="T7" fmla="*/ 66 h 111"/>
                    <a:gd name="T8" fmla="*/ 0 w 110"/>
                    <a:gd name="T9" fmla="*/ 111 h 111"/>
                    <a:gd name="T10" fmla="*/ 110 w 110"/>
                    <a:gd name="T11" fmla="*/ 111 h 111"/>
                    <a:gd name="T12" fmla="*/ 110 w 110"/>
                    <a:gd name="T13" fmla="*/ 30 h 111"/>
                    <a:gd name="T14" fmla="*/ 80 w 110"/>
                    <a:gd name="T15" fmla="*/ 0 h 1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111">
                      <a:moveTo>
                        <a:pt x="80" y="0"/>
                      </a:moveTo>
                      <a:cubicBezTo>
                        <a:pt x="63" y="0"/>
                        <a:pt x="63" y="0"/>
                        <a:pt x="63" y="0"/>
                      </a:cubicBezTo>
                      <a:cubicBezTo>
                        <a:pt x="18" y="109"/>
                        <a:pt x="18" y="109"/>
                        <a:pt x="18" y="109"/>
                      </a:cubicBezTo>
                      <a:cubicBezTo>
                        <a:pt x="0" y="66"/>
                        <a:pt x="0" y="66"/>
                        <a:pt x="0" y="66"/>
                      </a:cubicBezTo>
                      <a:cubicBezTo>
                        <a:pt x="0" y="111"/>
                        <a:pt x="0" y="111"/>
                        <a:pt x="0" y="111"/>
                      </a:cubicBezTo>
                      <a:cubicBezTo>
                        <a:pt x="110" y="111"/>
                        <a:pt x="110" y="111"/>
                        <a:pt x="110" y="111"/>
                      </a:cubicBezTo>
                      <a:cubicBezTo>
                        <a:pt x="110" y="30"/>
                        <a:pt x="110" y="30"/>
                        <a:pt x="110" y="30"/>
                      </a:cubicBezTo>
                      <a:cubicBezTo>
                        <a:pt x="110" y="13"/>
                        <a:pt x="97" y="0"/>
                        <a:pt x="8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65" name="Freeform 54"/>
                <p:cNvSpPr>
                  <a:spLocks/>
                </p:cNvSpPr>
                <p:nvPr/>
              </p:nvSpPr>
              <p:spPr bwMode="auto">
                <a:xfrm>
                  <a:off x="9471025" y="4294188"/>
                  <a:ext cx="288925" cy="293688"/>
                </a:xfrm>
                <a:custGeom>
                  <a:avLst/>
                  <a:gdLst>
                    <a:gd name="T0" fmla="*/ 109 w 109"/>
                    <a:gd name="T1" fmla="*/ 83 h 111"/>
                    <a:gd name="T2" fmla="*/ 98 w 109"/>
                    <a:gd name="T3" fmla="*/ 109 h 111"/>
                    <a:gd name="T4" fmla="*/ 53 w 109"/>
                    <a:gd name="T5" fmla="*/ 0 h 111"/>
                    <a:gd name="T6" fmla="*/ 30 w 109"/>
                    <a:gd name="T7" fmla="*/ 0 h 111"/>
                    <a:gd name="T8" fmla="*/ 0 w 109"/>
                    <a:gd name="T9" fmla="*/ 30 h 111"/>
                    <a:gd name="T10" fmla="*/ 0 w 109"/>
                    <a:gd name="T11" fmla="*/ 111 h 111"/>
                    <a:gd name="T12" fmla="*/ 109 w 109"/>
                    <a:gd name="T13" fmla="*/ 111 h 111"/>
                    <a:gd name="T14" fmla="*/ 109 w 109"/>
                    <a:gd name="T15" fmla="*/ 83 h 1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 h="111">
                      <a:moveTo>
                        <a:pt x="109" y="83"/>
                      </a:moveTo>
                      <a:cubicBezTo>
                        <a:pt x="98" y="109"/>
                        <a:pt x="98" y="109"/>
                        <a:pt x="98" y="109"/>
                      </a:cubicBezTo>
                      <a:cubicBezTo>
                        <a:pt x="53" y="0"/>
                        <a:pt x="53" y="0"/>
                        <a:pt x="53" y="0"/>
                      </a:cubicBezTo>
                      <a:cubicBezTo>
                        <a:pt x="30" y="0"/>
                        <a:pt x="30" y="0"/>
                        <a:pt x="30" y="0"/>
                      </a:cubicBezTo>
                      <a:cubicBezTo>
                        <a:pt x="14" y="0"/>
                        <a:pt x="0" y="13"/>
                        <a:pt x="0" y="30"/>
                      </a:cubicBezTo>
                      <a:cubicBezTo>
                        <a:pt x="0" y="111"/>
                        <a:pt x="0" y="111"/>
                        <a:pt x="0" y="111"/>
                      </a:cubicBezTo>
                      <a:cubicBezTo>
                        <a:pt x="109" y="111"/>
                        <a:pt x="109" y="111"/>
                        <a:pt x="109" y="111"/>
                      </a:cubicBezTo>
                      <a:lnTo>
                        <a:pt x="109" y="83"/>
                      </a:lnTo>
                      <a:close/>
                    </a:path>
                  </a:pathLst>
                </a:custGeom>
                <a:grpFill/>
                <a:ln>
                  <a:noFill/>
                </a:ln>
              </p:spPr>
              <p:txBody>
                <a:bodyPr vert="horz" wrap="square" lIns="91440" tIns="45720" rIns="91440" bIns="45720" numCol="1" anchor="t" anchorCtr="0" compatLnSpc="1">
                  <a:prstTxWarp prst="textNoShape">
                    <a:avLst/>
                  </a:prstTxWarp>
                </a:bodyPr>
                <a:lstStyle/>
                <a:p>
                  <a:endParaRPr lang="en-US" sz="900" noProof="1"/>
                </a:p>
              </p:txBody>
            </p:sp>
            <p:sp>
              <p:nvSpPr>
                <p:cNvPr id="66" name="Freeform 55"/>
                <p:cNvSpPr>
                  <a:spLocks noEditPoints="1"/>
                </p:cNvSpPr>
                <p:nvPr/>
              </p:nvSpPr>
              <p:spPr bwMode="auto">
                <a:xfrm>
                  <a:off x="9788525" y="4233863"/>
                  <a:ext cx="603250" cy="354013"/>
                </a:xfrm>
                <a:custGeom>
                  <a:avLst/>
                  <a:gdLst>
                    <a:gd name="T0" fmla="*/ 192 w 228"/>
                    <a:gd name="T1" fmla="*/ 0 h 134"/>
                    <a:gd name="T2" fmla="*/ 162 w 228"/>
                    <a:gd name="T3" fmla="*/ 0 h 134"/>
                    <a:gd name="T4" fmla="*/ 142 w 228"/>
                    <a:gd name="T5" fmla="*/ 20 h 134"/>
                    <a:gd name="T6" fmla="*/ 152 w 228"/>
                    <a:gd name="T7" fmla="*/ 35 h 134"/>
                    <a:gd name="T8" fmla="*/ 142 w 228"/>
                    <a:gd name="T9" fmla="*/ 46 h 134"/>
                    <a:gd name="T10" fmla="*/ 154 w 228"/>
                    <a:gd name="T11" fmla="*/ 57 h 134"/>
                    <a:gd name="T12" fmla="*/ 117 w 228"/>
                    <a:gd name="T13" fmla="*/ 131 h 134"/>
                    <a:gd name="T14" fmla="*/ 79 w 228"/>
                    <a:gd name="T15" fmla="*/ 54 h 134"/>
                    <a:gd name="T16" fmla="*/ 89 w 228"/>
                    <a:gd name="T17" fmla="*/ 43 h 134"/>
                    <a:gd name="T18" fmla="*/ 78 w 228"/>
                    <a:gd name="T19" fmla="*/ 32 h 134"/>
                    <a:gd name="T20" fmla="*/ 89 w 228"/>
                    <a:gd name="T21" fmla="*/ 19 h 134"/>
                    <a:gd name="T22" fmla="*/ 70 w 228"/>
                    <a:gd name="T23" fmla="*/ 0 h 134"/>
                    <a:gd name="T24" fmla="*/ 36 w 228"/>
                    <a:gd name="T25" fmla="*/ 0 h 134"/>
                    <a:gd name="T26" fmla="*/ 0 w 228"/>
                    <a:gd name="T27" fmla="*/ 36 h 134"/>
                    <a:gd name="T28" fmla="*/ 0 w 228"/>
                    <a:gd name="T29" fmla="*/ 134 h 134"/>
                    <a:gd name="T30" fmla="*/ 228 w 228"/>
                    <a:gd name="T31" fmla="*/ 134 h 134"/>
                    <a:gd name="T32" fmla="*/ 228 w 228"/>
                    <a:gd name="T33" fmla="*/ 36 h 134"/>
                    <a:gd name="T34" fmla="*/ 192 w 228"/>
                    <a:gd name="T35" fmla="*/ 0 h 134"/>
                    <a:gd name="T36" fmla="*/ 214 w 228"/>
                    <a:gd name="T37" fmla="*/ 56 h 134"/>
                    <a:gd name="T38" fmla="*/ 170 w 228"/>
                    <a:gd name="T39" fmla="*/ 56 h 134"/>
                    <a:gd name="T40" fmla="*/ 170 w 228"/>
                    <a:gd name="T41" fmla="*/ 43 h 134"/>
                    <a:gd name="T42" fmla="*/ 214 w 228"/>
                    <a:gd name="T43" fmla="*/ 43 h 134"/>
                    <a:gd name="T44" fmla="*/ 214 w 228"/>
                    <a:gd name="T45" fmla="*/ 5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8" h="134">
                      <a:moveTo>
                        <a:pt x="192" y="0"/>
                      </a:moveTo>
                      <a:cubicBezTo>
                        <a:pt x="162" y="0"/>
                        <a:pt x="162" y="0"/>
                        <a:pt x="162" y="0"/>
                      </a:cubicBezTo>
                      <a:cubicBezTo>
                        <a:pt x="142" y="20"/>
                        <a:pt x="142" y="20"/>
                        <a:pt x="142" y="20"/>
                      </a:cubicBezTo>
                      <a:cubicBezTo>
                        <a:pt x="152" y="35"/>
                        <a:pt x="152" y="35"/>
                        <a:pt x="152" y="35"/>
                      </a:cubicBezTo>
                      <a:cubicBezTo>
                        <a:pt x="142" y="46"/>
                        <a:pt x="142" y="46"/>
                        <a:pt x="142" y="46"/>
                      </a:cubicBezTo>
                      <a:cubicBezTo>
                        <a:pt x="154" y="57"/>
                        <a:pt x="154" y="57"/>
                        <a:pt x="154" y="57"/>
                      </a:cubicBezTo>
                      <a:cubicBezTo>
                        <a:pt x="117" y="131"/>
                        <a:pt x="117" y="131"/>
                        <a:pt x="117" y="131"/>
                      </a:cubicBezTo>
                      <a:cubicBezTo>
                        <a:pt x="79" y="54"/>
                        <a:pt x="79" y="54"/>
                        <a:pt x="79" y="54"/>
                      </a:cubicBezTo>
                      <a:cubicBezTo>
                        <a:pt x="89" y="43"/>
                        <a:pt x="89" y="43"/>
                        <a:pt x="89" y="43"/>
                      </a:cubicBezTo>
                      <a:cubicBezTo>
                        <a:pt x="78" y="32"/>
                        <a:pt x="78" y="32"/>
                        <a:pt x="78" y="32"/>
                      </a:cubicBezTo>
                      <a:cubicBezTo>
                        <a:pt x="89" y="19"/>
                        <a:pt x="89" y="19"/>
                        <a:pt x="89" y="19"/>
                      </a:cubicBezTo>
                      <a:cubicBezTo>
                        <a:pt x="70" y="0"/>
                        <a:pt x="70" y="0"/>
                        <a:pt x="70" y="0"/>
                      </a:cubicBezTo>
                      <a:cubicBezTo>
                        <a:pt x="36" y="0"/>
                        <a:pt x="36" y="0"/>
                        <a:pt x="36" y="0"/>
                      </a:cubicBezTo>
                      <a:cubicBezTo>
                        <a:pt x="16" y="0"/>
                        <a:pt x="0" y="16"/>
                        <a:pt x="0" y="36"/>
                      </a:cubicBezTo>
                      <a:cubicBezTo>
                        <a:pt x="0" y="134"/>
                        <a:pt x="0" y="134"/>
                        <a:pt x="0" y="134"/>
                      </a:cubicBezTo>
                      <a:cubicBezTo>
                        <a:pt x="228" y="134"/>
                        <a:pt x="228" y="134"/>
                        <a:pt x="228" y="134"/>
                      </a:cubicBezTo>
                      <a:cubicBezTo>
                        <a:pt x="228" y="36"/>
                        <a:pt x="228" y="36"/>
                        <a:pt x="228" y="36"/>
                      </a:cubicBezTo>
                      <a:cubicBezTo>
                        <a:pt x="228" y="16"/>
                        <a:pt x="212" y="0"/>
                        <a:pt x="192" y="0"/>
                      </a:cubicBezTo>
                      <a:close/>
                      <a:moveTo>
                        <a:pt x="214" y="56"/>
                      </a:moveTo>
                      <a:cubicBezTo>
                        <a:pt x="170" y="56"/>
                        <a:pt x="170" y="56"/>
                        <a:pt x="170" y="56"/>
                      </a:cubicBezTo>
                      <a:cubicBezTo>
                        <a:pt x="170" y="43"/>
                        <a:pt x="170" y="43"/>
                        <a:pt x="170" y="43"/>
                      </a:cubicBezTo>
                      <a:cubicBezTo>
                        <a:pt x="214" y="43"/>
                        <a:pt x="214" y="43"/>
                        <a:pt x="214" y="43"/>
                      </a:cubicBezTo>
                      <a:lnTo>
                        <a:pt x="214" y="56"/>
                      </a:lnTo>
                      <a:close/>
                    </a:path>
                  </a:pathLst>
                </a:custGeom>
                <a:grpFill/>
                <a:ln>
                  <a:noFill/>
                </a:ln>
              </p:spPr>
              <p:txBody>
                <a:bodyPr vert="horz" wrap="square" lIns="91440" tIns="45720" rIns="91440" bIns="45720" numCol="1" anchor="t" anchorCtr="0" compatLnSpc="1">
                  <a:prstTxWarp prst="textNoShape">
                    <a:avLst/>
                  </a:prstTxWarp>
                </a:bodyPr>
                <a:lstStyle/>
                <a:p>
                  <a:endParaRPr lang="en-US" sz="900" noProof="1"/>
                </a:p>
              </p:txBody>
            </p:sp>
          </p:grpSp>
        </p:grpSp>
      </p:grpSp>
    </p:spTree>
    <p:extLst>
      <p:ext uri="{BB962C8B-B14F-4D97-AF65-F5344CB8AC3E}">
        <p14:creationId xmlns:p14="http://schemas.microsoft.com/office/powerpoint/2010/main" val="37441362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contenu 8"/>
          <p:cNvSpPr txBox="1">
            <a:spLocks/>
          </p:cNvSpPr>
          <p:nvPr/>
        </p:nvSpPr>
        <p:spPr>
          <a:xfrm>
            <a:off x="342578" y="1137313"/>
            <a:ext cx="8460000" cy="4739960"/>
          </a:xfrm>
          <a:prstGeom prst="rect">
            <a:avLst/>
          </a:prstGeom>
        </p:spPr>
        <p:txBody>
          <a:bodyPr vert="horz" lIns="0" tIns="0" rIns="0" bIns="0" rtlCol="0" anchor="t" anchorCtr="0">
            <a:normAutofit/>
          </a:bodyPr>
          <a:lstStyle>
            <a:lvl1pPr marL="0" indent="0" algn="l" defTabSz="914400" rtl="0" eaLnBrk="1" latinLnBrk="0" hangingPunct="1">
              <a:spcBef>
                <a:spcPts val="200"/>
              </a:spcBef>
              <a:buClr>
                <a:schemeClr val="accent4"/>
              </a:buClr>
              <a:buSzPct val="100000"/>
              <a:buFontTx/>
              <a:buNone/>
              <a:defRPr sz="1800" kern="1200">
                <a:solidFill>
                  <a:schemeClr val="tx1"/>
                </a:solidFill>
                <a:latin typeface="+mn-lt"/>
                <a:ea typeface="+mn-ea"/>
                <a:cs typeface="+mn-cs"/>
              </a:defRPr>
            </a:lvl1pPr>
            <a:lvl2pPr marL="358775" indent="-179388" algn="l" defTabSz="914400" rtl="0" eaLnBrk="1" latinLnBrk="0" hangingPunct="1">
              <a:spcBef>
                <a:spcPts val="200"/>
              </a:spcBef>
              <a:buClr>
                <a:schemeClr val="accent1"/>
              </a:buClr>
              <a:buSzPct val="90000"/>
              <a:buFont typeface="Wingdings" panose="05000000000000000000" pitchFamily="2" charset="2"/>
              <a:buChar char="§"/>
              <a:defRPr sz="1600" kern="1200">
                <a:solidFill>
                  <a:schemeClr val="tx1"/>
                </a:solidFill>
                <a:latin typeface="+mn-lt"/>
                <a:ea typeface="+mn-ea"/>
                <a:cs typeface="+mn-cs"/>
              </a:defRPr>
            </a:lvl2pPr>
            <a:lvl3pPr marL="538163" indent="-182563" algn="l" defTabSz="914400" rtl="0" eaLnBrk="1" latinLnBrk="0" hangingPunct="1">
              <a:spcBef>
                <a:spcPts val="200"/>
              </a:spcBef>
              <a:buFont typeface="Wingdings" panose="05000000000000000000" pitchFamily="2" charset="2"/>
              <a:buChar char="§"/>
              <a:defRPr sz="1400" kern="1200">
                <a:solidFill>
                  <a:schemeClr val="accent1"/>
                </a:solidFill>
                <a:latin typeface="+mn-lt"/>
                <a:ea typeface="+mn-ea"/>
                <a:cs typeface="+mn-cs"/>
              </a:defRPr>
            </a:lvl3pPr>
            <a:lvl4pPr marL="719138" indent="-173038" algn="l" defTabSz="914400" rtl="0" eaLnBrk="1" latinLnBrk="0" hangingPunct="1">
              <a:spcBef>
                <a:spcPts val="200"/>
              </a:spcBef>
              <a:buFont typeface="Wingdings" panose="05000000000000000000" pitchFamily="2" charset="2"/>
              <a:buChar char="§"/>
              <a:defRPr sz="1200" kern="1200">
                <a:solidFill>
                  <a:schemeClr val="tx2"/>
                </a:solidFill>
                <a:latin typeface="+mn-lt"/>
                <a:ea typeface="+mn-ea"/>
                <a:cs typeface="+mn-cs"/>
              </a:defRPr>
            </a:lvl4pPr>
            <a:lvl5pPr marL="3175" indent="4763" algn="l" defTabSz="914400" rtl="0" eaLnBrk="1" latinLnBrk="0" hangingPunct="1">
              <a:spcBef>
                <a:spcPts val="200"/>
              </a:spcBef>
              <a:buFontTx/>
              <a:buNone/>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0"/>
              </a:spcAft>
              <a:buClr>
                <a:srgbClr val="008578"/>
              </a:buClr>
              <a:buSzPct val="100000"/>
              <a:buFontTx/>
              <a:buNone/>
              <a:tabLst/>
              <a:defRPr/>
            </a:pPr>
            <a:endParaRPr kumimoji="0" lang="en-US" sz="800" b="0" i="0" u="none" strike="noStrike" kern="1200" cap="none" spc="0" normalizeH="0" baseline="0" noProof="1">
              <a:ln>
                <a:noFill/>
              </a:ln>
              <a:solidFill>
                <a:srgbClr val="2F2F2F"/>
              </a:solidFill>
              <a:effectLst/>
              <a:uLnTx/>
              <a:uFillTx/>
              <a:latin typeface="Arial"/>
              <a:ea typeface="+mn-ea"/>
              <a:cs typeface="+mn-cs"/>
            </a:endParaRPr>
          </a:p>
          <a:p>
            <a:pPr marL="0" marR="0" lvl="0" indent="0" algn="l" defTabSz="914400" rtl="0" eaLnBrk="1" fontAlgn="auto" latinLnBrk="0" hangingPunct="1">
              <a:lnSpc>
                <a:spcPct val="100000"/>
              </a:lnSpc>
              <a:spcBef>
                <a:spcPts val="200"/>
              </a:spcBef>
              <a:spcAft>
                <a:spcPts val="0"/>
              </a:spcAft>
              <a:buClr>
                <a:srgbClr val="008578"/>
              </a:buClr>
              <a:buSzPct val="100000"/>
              <a:buFontTx/>
              <a:buNone/>
              <a:tabLst/>
              <a:defRPr/>
            </a:pPr>
            <a:endParaRPr kumimoji="0" lang="en-US" sz="800" b="0" i="0" u="none" strike="noStrike" kern="1200" cap="none" spc="0" normalizeH="0" baseline="0" noProof="1">
              <a:ln>
                <a:noFill/>
              </a:ln>
              <a:solidFill>
                <a:srgbClr val="2F2F2F"/>
              </a:solidFill>
              <a:effectLst/>
              <a:uLnTx/>
              <a:uFillTx/>
              <a:latin typeface="Arial"/>
              <a:ea typeface="+mn-ea"/>
              <a:cs typeface="+mn-cs"/>
            </a:endParaRPr>
          </a:p>
          <a:p>
            <a:pPr marL="0" marR="0" lvl="0" indent="0" algn="l" defTabSz="914400" rtl="0" eaLnBrk="1" fontAlgn="auto" latinLnBrk="0" hangingPunct="1">
              <a:lnSpc>
                <a:spcPct val="100000"/>
              </a:lnSpc>
              <a:spcBef>
                <a:spcPts val="200"/>
              </a:spcBef>
              <a:spcAft>
                <a:spcPts val="0"/>
              </a:spcAft>
              <a:buClr>
                <a:srgbClr val="008578"/>
              </a:buClr>
              <a:buSzPct val="100000"/>
              <a:buFontTx/>
              <a:buNone/>
              <a:tabLst/>
              <a:defRPr/>
            </a:pPr>
            <a:endParaRPr kumimoji="0" lang="en-US" sz="800" b="0" i="0" u="none" strike="noStrike" kern="1200" cap="none" spc="0" normalizeH="0" baseline="0" noProof="1">
              <a:ln>
                <a:noFill/>
              </a:ln>
              <a:solidFill>
                <a:srgbClr val="2F2F2F"/>
              </a:solidFill>
              <a:effectLst/>
              <a:uLnTx/>
              <a:uFillTx/>
              <a:latin typeface="Arial"/>
              <a:ea typeface="+mn-ea"/>
              <a:cs typeface="+mn-cs"/>
            </a:endParaRPr>
          </a:p>
          <a:p>
            <a:pPr marL="0" marR="0" lvl="0" indent="0" algn="l" defTabSz="914400" rtl="0" eaLnBrk="1" fontAlgn="auto" latinLnBrk="0" hangingPunct="1">
              <a:lnSpc>
                <a:spcPct val="100000"/>
              </a:lnSpc>
              <a:spcBef>
                <a:spcPts val="200"/>
              </a:spcBef>
              <a:spcAft>
                <a:spcPts val="0"/>
              </a:spcAft>
              <a:buClr>
                <a:srgbClr val="008578"/>
              </a:buClr>
              <a:buSzPct val="100000"/>
              <a:buFontTx/>
              <a:buNone/>
              <a:tabLst/>
              <a:defRPr/>
            </a:pPr>
            <a:endParaRPr kumimoji="0" lang="en-US" sz="800" b="0" i="0" u="none" strike="noStrike" kern="1200" cap="none" spc="0" normalizeH="0" baseline="0" noProof="1">
              <a:ln>
                <a:noFill/>
              </a:ln>
              <a:solidFill>
                <a:srgbClr val="2F2F2F"/>
              </a:solidFill>
              <a:effectLst/>
              <a:uLnTx/>
              <a:uFillTx/>
              <a:latin typeface="Arial"/>
              <a:ea typeface="+mn-ea"/>
              <a:cs typeface="+mn-cs"/>
            </a:endParaRPr>
          </a:p>
          <a:p>
            <a:pPr marL="0" marR="0" lvl="0" indent="0" algn="l" defTabSz="914400" rtl="0" eaLnBrk="1" fontAlgn="auto" latinLnBrk="0" hangingPunct="1">
              <a:lnSpc>
                <a:spcPct val="100000"/>
              </a:lnSpc>
              <a:spcBef>
                <a:spcPts val="200"/>
              </a:spcBef>
              <a:spcAft>
                <a:spcPts val="0"/>
              </a:spcAft>
              <a:buClr>
                <a:srgbClr val="008578"/>
              </a:buClr>
              <a:buSzPct val="100000"/>
              <a:buFontTx/>
              <a:buNone/>
              <a:tabLst/>
              <a:defRPr/>
            </a:pPr>
            <a:endParaRPr kumimoji="0" lang="en-US" sz="800" b="0" i="0" u="none" strike="noStrike" kern="1200" cap="none" spc="0" normalizeH="0" baseline="0" noProof="1">
              <a:ln>
                <a:noFill/>
              </a:ln>
              <a:solidFill>
                <a:srgbClr val="2F2F2F"/>
              </a:solidFill>
              <a:effectLst/>
              <a:uLnTx/>
              <a:uFillTx/>
              <a:latin typeface="Arial"/>
              <a:ea typeface="+mn-ea"/>
              <a:cs typeface="+mn-cs"/>
            </a:endParaRPr>
          </a:p>
          <a:p>
            <a:pPr marL="0" marR="0" lvl="0" indent="0" algn="l" defTabSz="914400" rtl="0" eaLnBrk="1" fontAlgn="auto" latinLnBrk="0" hangingPunct="1">
              <a:lnSpc>
                <a:spcPct val="100000"/>
              </a:lnSpc>
              <a:spcBef>
                <a:spcPts val="200"/>
              </a:spcBef>
              <a:spcAft>
                <a:spcPts val="0"/>
              </a:spcAft>
              <a:buClr>
                <a:srgbClr val="008578"/>
              </a:buClr>
              <a:buSzPct val="100000"/>
              <a:buFontTx/>
              <a:buNone/>
              <a:tabLst/>
              <a:defRPr/>
            </a:pPr>
            <a:endParaRPr kumimoji="0" lang="en-US" sz="800" b="0" i="0" u="none" strike="noStrike" kern="1200" cap="none" spc="0" normalizeH="0" baseline="0" noProof="1">
              <a:ln>
                <a:noFill/>
              </a:ln>
              <a:solidFill>
                <a:srgbClr val="2F2F2F"/>
              </a:solidFill>
              <a:effectLst/>
              <a:uLnTx/>
              <a:uFillTx/>
              <a:latin typeface="Arial"/>
              <a:ea typeface="+mn-ea"/>
              <a:cs typeface="+mn-cs"/>
            </a:endParaRPr>
          </a:p>
          <a:p>
            <a:pPr marL="0" marR="0" lvl="0" indent="0" algn="l" defTabSz="914400" rtl="0" eaLnBrk="1" fontAlgn="auto" latinLnBrk="0" hangingPunct="1">
              <a:lnSpc>
                <a:spcPct val="100000"/>
              </a:lnSpc>
              <a:spcBef>
                <a:spcPts val="200"/>
              </a:spcBef>
              <a:spcAft>
                <a:spcPts val="0"/>
              </a:spcAft>
              <a:buClr>
                <a:srgbClr val="008578"/>
              </a:buClr>
              <a:buSzPct val="100000"/>
              <a:buFontTx/>
              <a:buNone/>
              <a:tabLst/>
              <a:defRPr/>
            </a:pPr>
            <a:endParaRPr kumimoji="0" lang="en-US" sz="800" b="0" i="0" u="none" strike="noStrike" kern="1200" cap="none" spc="0" normalizeH="0" baseline="0" noProof="1">
              <a:ln>
                <a:noFill/>
              </a:ln>
              <a:solidFill>
                <a:srgbClr val="2F2F2F"/>
              </a:solidFill>
              <a:effectLst/>
              <a:uLnTx/>
              <a:uFillTx/>
              <a:latin typeface="Arial"/>
              <a:ea typeface="+mn-ea"/>
              <a:cs typeface="+mn-cs"/>
            </a:endParaRPr>
          </a:p>
          <a:p>
            <a:pPr marL="0" marR="0" lvl="0" indent="0" algn="l" defTabSz="914400" rtl="0" eaLnBrk="1" fontAlgn="auto" latinLnBrk="0" hangingPunct="1">
              <a:lnSpc>
                <a:spcPct val="100000"/>
              </a:lnSpc>
              <a:spcBef>
                <a:spcPts val="200"/>
              </a:spcBef>
              <a:spcAft>
                <a:spcPts val="0"/>
              </a:spcAft>
              <a:buClr>
                <a:srgbClr val="008578"/>
              </a:buClr>
              <a:buSzPct val="100000"/>
              <a:buFontTx/>
              <a:buNone/>
              <a:tabLst/>
              <a:defRPr/>
            </a:pPr>
            <a:endParaRPr kumimoji="0" lang="en-US" sz="800" b="0" i="0" u="none" strike="noStrike" kern="1200" cap="none" spc="0" normalizeH="0" baseline="0" noProof="1">
              <a:ln>
                <a:noFill/>
              </a:ln>
              <a:solidFill>
                <a:srgbClr val="2F2F2F"/>
              </a:solidFill>
              <a:effectLst/>
              <a:uLnTx/>
              <a:uFillTx/>
              <a:latin typeface="Arial"/>
              <a:ea typeface="+mn-ea"/>
              <a:cs typeface="+mn-cs"/>
            </a:endParaRPr>
          </a:p>
          <a:p>
            <a:pPr marL="0" marR="0" lvl="0" indent="0" algn="l" defTabSz="914400" rtl="0" eaLnBrk="1" fontAlgn="auto" latinLnBrk="0" hangingPunct="1">
              <a:lnSpc>
                <a:spcPct val="100000"/>
              </a:lnSpc>
              <a:spcBef>
                <a:spcPts val="200"/>
              </a:spcBef>
              <a:spcAft>
                <a:spcPts val="0"/>
              </a:spcAft>
              <a:buClr>
                <a:srgbClr val="008578"/>
              </a:buClr>
              <a:buSzPct val="100000"/>
              <a:buFontTx/>
              <a:buNone/>
              <a:tabLst/>
              <a:defRPr/>
            </a:pPr>
            <a:endParaRPr kumimoji="0" lang="en-US" sz="800" b="0" i="0" u="none" strike="noStrike" kern="1200" cap="none" spc="0" normalizeH="0" baseline="0" noProof="1">
              <a:ln>
                <a:noFill/>
              </a:ln>
              <a:solidFill>
                <a:srgbClr val="2F2F2F"/>
              </a:solidFill>
              <a:effectLst/>
              <a:uLnTx/>
              <a:uFillTx/>
              <a:latin typeface="Arial"/>
              <a:ea typeface="+mn-ea"/>
              <a:cs typeface="+mn-cs"/>
            </a:endParaRPr>
          </a:p>
          <a:p>
            <a:pPr marL="0" marR="0" lvl="0" indent="0" algn="l" defTabSz="914400" rtl="0" eaLnBrk="1" fontAlgn="auto" latinLnBrk="0" hangingPunct="1">
              <a:lnSpc>
                <a:spcPct val="100000"/>
              </a:lnSpc>
              <a:spcBef>
                <a:spcPts val="200"/>
              </a:spcBef>
              <a:spcAft>
                <a:spcPts val="0"/>
              </a:spcAft>
              <a:buClr>
                <a:srgbClr val="008578"/>
              </a:buClr>
              <a:buSzPct val="100000"/>
              <a:buFontTx/>
              <a:buNone/>
              <a:tabLst/>
              <a:defRPr/>
            </a:pPr>
            <a:endParaRPr kumimoji="0" lang="en-US" sz="800" b="0" i="0" u="none" strike="noStrike" kern="1200" cap="none" spc="0" normalizeH="0" baseline="0" noProof="1">
              <a:ln>
                <a:noFill/>
              </a:ln>
              <a:solidFill>
                <a:srgbClr val="2F2F2F"/>
              </a:solidFill>
              <a:effectLst/>
              <a:uLnTx/>
              <a:uFillTx/>
              <a:latin typeface="Arial"/>
              <a:ea typeface="+mn-ea"/>
              <a:cs typeface="+mn-cs"/>
            </a:endParaRPr>
          </a:p>
          <a:p>
            <a:pPr marL="0" marR="0" lvl="0" indent="0" algn="l" defTabSz="914400" rtl="0" eaLnBrk="1" fontAlgn="auto" latinLnBrk="0" hangingPunct="1">
              <a:lnSpc>
                <a:spcPct val="100000"/>
              </a:lnSpc>
              <a:spcBef>
                <a:spcPts val="200"/>
              </a:spcBef>
              <a:spcAft>
                <a:spcPts val="0"/>
              </a:spcAft>
              <a:buClr>
                <a:srgbClr val="008578"/>
              </a:buClr>
              <a:buSzPct val="100000"/>
              <a:buFontTx/>
              <a:buNone/>
              <a:tabLst/>
              <a:defRPr/>
            </a:pPr>
            <a:endParaRPr kumimoji="0" lang="en-US" sz="800" b="0" i="0" u="none" strike="noStrike" kern="1200" cap="none" spc="0" normalizeH="0" baseline="0" noProof="1">
              <a:ln>
                <a:noFill/>
              </a:ln>
              <a:solidFill>
                <a:srgbClr val="2F2F2F"/>
              </a:solidFill>
              <a:effectLst/>
              <a:uLnTx/>
              <a:uFillTx/>
              <a:latin typeface="Arial"/>
              <a:ea typeface="+mn-ea"/>
              <a:cs typeface="+mn-cs"/>
            </a:endParaRPr>
          </a:p>
          <a:p>
            <a:pPr marL="0" marR="0" lvl="0" indent="0" algn="l" defTabSz="914400" rtl="0" eaLnBrk="1" fontAlgn="auto" latinLnBrk="0" hangingPunct="1">
              <a:lnSpc>
                <a:spcPct val="100000"/>
              </a:lnSpc>
              <a:spcBef>
                <a:spcPts val="200"/>
              </a:spcBef>
              <a:spcAft>
                <a:spcPts val="0"/>
              </a:spcAft>
              <a:buClr>
                <a:srgbClr val="008578"/>
              </a:buClr>
              <a:buSzPct val="100000"/>
              <a:buFontTx/>
              <a:buNone/>
              <a:tabLst/>
              <a:defRPr/>
            </a:pPr>
            <a:endParaRPr kumimoji="0" lang="en-US" sz="800" b="0" i="0" u="none" strike="noStrike" kern="1200" cap="none" spc="0" normalizeH="0" baseline="0" noProof="1">
              <a:ln>
                <a:noFill/>
              </a:ln>
              <a:solidFill>
                <a:srgbClr val="2F2F2F"/>
              </a:solidFill>
              <a:effectLst/>
              <a:uLnTx/>
              <a:uFillTx/>
              <a:latin typeface="Arial"/>
              <a:ea typeface="+mn-ea"/>
              <a:cs typeface="+mn-cs"/>
            </a:endParaRPr>
          </a:p>
          <a:p>
            <a:pPr marL="0" marR="0" lvl="0" indent="0" algn="l" defTabSz="914400" rtl="0" eaLnBrk="1" fontAlgn="auto" latinLnBrk="0" hangingPunct="1">
              <a:lnSpc>
                <a:spcPct val="100000"/>
              </a:lnSpc>
              <a:spcBef>
                <a:spcPts val="200"/>
              </a:spcBef>
              <a:spcAft>
                <a:spcPts val="0"/>
              </a:spcAft>
              <a:buClr>
                <a:srgbClr val="008578"/>
              </a:buClr>
              <a:buSzPct val="100000"/>
              <a:buFontTx/>
              <a:buNone/>
              <a:tabLst/>
              <a:defRPr/>
            </a:pPr>
            <a:endParaRPr kumimoji="0" lang="en-US" sz="800" b="0" i="0" u="none" strike="noStrike" kern="1200" cap="none" spc="0" normalizeH="0" baseline="0" noProof="1">
              <a:ln>
                <a:noFill/>
              </a:ln>
              <a:solidFill>
                <a:srgbClr val="2F2F2F"/>
              </a:solidFill>
              <a:effectLst/>
              <a:uLnTx/>
              <a:uFillTx/>
              <a:latin typeface="Arial"/>
              <a:ea typeface="+mn-ea"/>
              <a:cs typeface="+mn-cs"/>
            </a:endParaRPr>
          </a:p>
          <a:p>
            <a:pPr marL="0" marR="0" lvl="0" indent="0" algn="l" defTabSz="914400" rtl="0" eaLnBrk="1" fontAlgn="auto" latinLnBrk="0" hangingPunct="1">
              <a:lnSpc>
                <a:spcPct val="100000"/>
              </a:lnSpc>
              <a:spcBef>
                <a:spcPts val="200"/>
              </a:spcBef>
              <a:spcAft>
                <a:spcPts val="0"/>
              </a:spcAft>
              <a:buClr>
                <a:srgbClr val="008578"/>
              </a:buClr>
              <a:buSzPct val="100000"/>
              <a:buFontTx/>
              <a:buNone/>
              <a:tabLst/>
              <a:defRPr/>
            </a:pPr>
            <a:endParaRPr kumimoji="0" lang="en-US" sz="800" b="0" i="0" u="none" strike="noStrike" kern="1200" cap="none" spc="0" normalizeH="0" baseline="0" noProof="1">
              <a:ln>
                <a:noFill/>
              </a:ln>
              <a:solidFill>
                <a:srgbClr val="2F2F2F"/>
              </a:solidFill>
              <a:effectLst/>
              <a:uLnTx/>
              <a:uFillTx/>
              <a:latin typeface="Arial"/>
              <a:ea typeface="+mn-ea"/>
              <a:cs typeface="+mn-cs"/>
            </a:endParaRPr>
          </a:p>
          <a:p>
            <a:pPr marL="0" marR="0" lvl="0" indent="0" algn="l" defTabSz="914400" rtl="0" eaLnBrk="1" fontAlgn="auto" latinLnBrk="0" hangingPunct="1">
              <a:lnSpc>
                <a:spcPct val="100000"/>
              </a:lnSpc>
              <a:spcBef>
                <a:spcPts val="200"/>
              </a:spcBef>
              <a:spcAft>
                <a:spcPts val="0"/>
              </a:spcAft>
              <a:buClr>
                <a:srgbClr val="008578"/>
              </a:buClr>
              <a:buSzPct val="100000"/>
              <a:buFontTx/>
              <a:buNone/>
              <a:tabLst/>
              <a:defRPr/>
            </a:pPr>
            <a:endParaRPr kumimoji="0" lang="en-US" sz="800" b="0" i="0" u="none" strike="noStrike" kern="1200" cap="none" spc="0" normalizeH="0" baseline="0" noProof="1">
              <a:ln>
                <a:noFill/>
              </a:ln>
              <a:solidFill>
                <a:srgbClr val="2F2F2F"/>
              </a:solidFill>
              <a:effectLst/>
              <a:uLnTx/>
              <a:uFillTx/>
              <a:latin typeface="Arial"/>
              <a:ea typeface="+mn-ea"/>
              <a:cs typeface="+mn-cs"/>
            </a:endParaRPr>
          </a:p>
          <a:p>
            <a:pPr marL="0" marR="0" lvl="0" indent="0" algn="l" defTabSz="914400" rtl="0" eaLnBrk="1" fontAlgn="auto" latinLnBrk="0" hangingPunct="1">
              <a:lnSpc>
                <a:spcPct val="100000"/>
              </a:lnSpc>
              <a:spcBef>
                <a:spcPts val="200"/>
              </a:spcBef>
              <a:spcAft>
                <a:spcPts val="0"/>
              </a:spcAft>
              <a:buClr>
                <a:srgbClr val="008578"/>
              </a:buClr>
              <a:buSzPct val="100000"/>
              <a:buFontTx/>
              <a:buNone/>
              <a:tabLst/>
              <a:defRPr/>
            </a:pPr>
            <a:endParaRPr kumimoji="0" lang="en-US" sz="800" b="0" i="0" u="none" strike="noStrike" kern="1200" cap="none" spc="0" normalizeH="0" baseline="0" noProof="1">
              <a:ln>
                <a:noFill/>
              </a:ln>
              <a:solidFill>
                <a:srgbClr val="2F2F2F"/>
              </a:solidFill>
              <a:effectLst/>
              <a:uLnTx/>
              <a:uFillTx/>
              <a:latin typeface="Arial"/>
              <a:ea typeface="+mn-ea"/>
              <a:cs typeface="+mn-cs"/>
            </a:endParaRPr>
          </a:p>
          <a:p>
            <a:pPr marL="0" marR="0" lvl="0" indent="0" algn="l" defTabSz="914400" rtl="0" eaLnBrk="1" fontAlgn="auto" latinLnBrk="0" hangingPunct="1">
              <a:lnSpc>
                <a:spcPct val="100000"/>
              </a:lnSpc>
              <a:spcBef>
                <a:spcPts val="200"/>
              </a:spcBef>
              <a:spcAft>
                <a:spcPts val="0"/>
              </a:spcAft>
              <a:buClr>
                <a:srgbClr val="008578"/>
              </a:buClr>
              <a:buSzPct val="100000"/>
              <a:buFontTx/>
              <a:buNone/>
              <a:tabLst/>
              <a:defRPr/>
            </a:pPr>
            <a:endParaRPr kumimoji="0" lang="en-US" sz="800" b="0" i="0" u="none" strike="noStrike" kern="1200" cap="none" spc="0" normalizeH="0" baseline="0" noProof="1">
              <a:ln>
                <a:noFill/>
              </a:ln>
              <a:solidFill>
                <a:srgbClr val="2F2F2F"/>
              </a:solidFill>
              <a:effectLst/>
              <a:uLnTx/>
              <a:uFillTx/>
              <a:latin typeface="Arial"/>
              <a:ea typeface="+mn-ea"/>
              <a:cs typeface="+mn-cs"/>
            </a:endParaRPr>
          </a:p>
          <a:p>
            <a:pPr marL="0" marR="0" lvl="0" indent="0" algn="l" defTabSz="914400" rtl="0" eaLnBrk="1" fontAlgn="auto" latinLnBrk="0" hangingPunct="1">
              <a:lnSpc>
                <a:spcPct val="100000"/>
              </a:lnSpc>
              <a:spcBef>
                <a:spcPts val="200"/>
              </a:spcBef>
              <a:spcAft>
                <a:spcPts val="0"/>
              </a:spcAft>
              <a:buClr>
                <a:srgbClr val="008578"/>
              </a:buClr>
              <a:buSzPct val="100000"/>
              <a:buFontTx/>
              <a:buNone/>
              <a:tabLst/>
              <a:defRPr/>
            </a:pPr>
            <a:r>
              <a:rPr kumimoji="0" lang="en-US" sz="800" b="0" i="0" u="none" strike="noStrike" kern="1200" cap="none" spc="0" normalizeH="0" baseline="0" noProof="1">
                <a:ln>
                  <a:noFill/>
                </a:ln>
                <a:solidFill>
                  <a:srgbClr val="2F2F2F"/>
                </a:solidFill>
                <a:effectLst/>
                <a:uLnTx/>
                <a:uFillTx/>
                <a:latin typeface="Arial"/>
                <a:ea typeface="+mn-ea"/>
                <a:cs typeface="+mn-cs"/>
              </a:rPr>
              <a:t>The information contained within this document (‘information’) is believed to be reliable but BNP Paribas Securities Services does not warrant its completeness or accuracy. Opinions and estimates contained herein constitute BNP Paribas Securities Services’ judgment and are subject to change without notice. BNP Paribas Securities Services and its subsidiaries shall not be liable for any errors, omissions or opinions contained within this document. This material is not </a:t>
            </a:r>
            <a:r>
              <a:rPr kumimoji="0" lang="en-US" sz="800" b="0" i="0" u="none" strike="noStrike" kern="1200" cap="none" spc="0" normalizeH="0" baseline="0" noProof="1">
                <a:ln>
                  <a:noFill/>
                </a:ln>
                <a:solidFill>
                  <a:srgbClr val="000000"/>
                </a:solidFill>
                <a:effectLst/>
                <a:uLnTx/>
                <a:uFillTx/>
                <a:latin typeface="Arial"/>
                <a:ea typeface="+mn-ea"/>
                <a:cs typeface="+mn-cs"/>
              </a:rPr>
              <a:t>intended as an offer or solicitation for the purchase or sale of any financial instrument. For the avoidance of doubt, any information contained within this document will not form an agreement between parties. Additional information is available on request.</a:t>
            </a:r>
            <a:br>
              <a:rPr kumimoji="0" lang="en-US" sz="800" b="0" i="0" u="none" strike="noStrike" kern="1200" cap="none" spc="0" normalizeH="0" baseline="0" noProof="1">
                <a:ln>
                  <a:noFill/>
                </a:ln>
                <a:solidFill>
                  <a:srgbClr val="000000"/>
                </a:solidFill>
                <a:effectLst/>
                <a:uLnTx/>
                <a:uFillTx/>
                <a:latin typeface="Arial"/>
                <a:ea typeface="+mn-ea"/>
                <a:cs typeface="+mn-cs"/>
              </a:rPr>
            </a:br>
            <a:br>
              <a:rPr kumimoji="0" lang="en-US" sz="800" b="0" i="0" u="none" strike="noStrike" kern="1200" cap="none" spc="0" normalizeH="0" baseline="0" noProof="1">
                <a:ln>
                  <a:noFill/>
                </a:ln>
                <a:solidFill>
                  <a:srgbClr val="000000"/>
                </a:solidFill>
                <a:effectLst/>
                <a:uLnTx/>
                <a:uFillTx/>
                <a:latin typeface="Arial"/>
                <a:ea typeface="+mn-ea"/>
                <a:cs typeface="+mn-cs"/>
              </a:rPr>
            </a:br>
            <a:r>
              <a:rPr kumimoji="0" lang="en-US" sz="800" b="0" i="0" u="none" strike="noStrike" kern="1200" cap="none" spc="0" normalizeH="0" baseline="0" noProof="1">
                <a:ln>
                  <a:noFill/>
                </a:ln>
                <a:solidFill>
                  <a:srgbClr val="000000"/>
                </a:solidFill>
                <a:effectLst/>
                <a:uLnTx/>
                <a:uFillTx/>
                <a:latin typeface="Arial"/>
                <a:ea typeface="+mn-ea"/>
                <a:cs typeface="+mn-cs"/>
              </a:rPr>
              <a:t>BNP Paribas Securities Services is incorporated in France as a Partnership Limited by Shares and is authorised and supervised by the European Central Bank (ECB), the ACPR (Autorité de Contrôle Prudentiel et de Résolution ) and the AMF (Autorité des Marchés Financiers). </a:t>
            </a:r>
            <a:br>
              <a:rPr kumimoji="0" lang="en-US" sz="800" b="0" i="0" u="none" strike="noStrike" kern="1200" cap="none" spc="0" normalizeH="0" baseline="0" noProof="1">
                <a:ln>
                  <a:noFill/>
                </a:ln>
                <a:solidFill>
                  <a:srgbClr val="000000"/>
                </a:solidFill>
                <a:effectLst/>
                <a:uLnTx/>
                <a:uFillTx/>
                <a:latin typeface="Arial"/>
                <a:ea typeface="+mn-ea"/>
                <a:cs typeface="+mn-cs"/>
              </a:rPr>
            </a:br>
            <a:br>
              <a:rPr kumimoji="0" lang="en-US" sz="800" b="0" i="0" u="none" strike="noStrike" kern="1200" cap="none" spc="0" normalizeH="0" baseline="0" noProof="1">
                <a:ln>
                  <a:noFill/>
                </a:ln>
                <a:solidFill>
                  <a:srgbClr val="000000"/>
                </a:solidFill>
                <a:effectLst/>
                <a:uLnTx/>
                <a:uFillTx/>
                <a:latin typeface="Arial"/>
                <a:ea typeface="+mn-ea"/>
                <a:cs typeface="+mn-cs"/>
              </a:rPr>
            </a:br>
            <a:r>
              <a:rPr kumimoji="0" lang="en-US" sz="800" b="0" i="0" u="none" strike="noStrike" kern="1200" cap="none" spc="0" normalizeH="0" baseline="0" noProof="1">
                <a:ln>
                  <a:noFill/>
                </a:ln>
                <a:solidFill>
                  <a:srgbClr val="000000"/>
                </a:solidFill>
                <a:effectLst/>
                <a:uLnTx/>
                <a:uFillTx/>
                <a:latin typeface="Arial"/>
                <a:ea typeface="+mn-ea"/>
                <a:cs typeface="+mn-cs"/>
              </a:rPr>
              <a:t>BNP Paribas Securities Services, London branch is authorised by the ACPR, the AMF and the Prudential Regulation Authority and is subject to limited </a:t>
            </a:r>
            <a:r>
              <a:rPr kumimoji="0" lang="en-US" sz="800" b="0" i="0" u="none" strike="noStrike" kern="1200" cap="none" spc="0" normalizeH="0" baseline="0" noProof="1">
                <a:ln>
                  <a:noFill/>
                </a:ln>
                <a:solidFill>
                  <a:srgbClr val="2F2F2F"/>
                </a:solidFill>
                <a:effectLst/>
                <a:uLnTx/>
                <a:uFillTx/>
                <a:latin typeface="Arial"/>
                <a:ea typeface="+mn-ea"/>
                <a:cs typeface="+mn-cs"/>
              </a:rPr>
              <a:t>regulation by the Financial Conduct Authority and Prudential Regulation Authority. Details about the extent of our authorisation and regulation by the Prudential Regulation Authority and regulation by the Financial Conduct Authority are available from us on request. BNP Paribas Securities Services, London branch is a member of the London Stock Exchange. BNP Paribas Trust Corporation UK Limited (a wholly owned subsidiary of BNP Paribas Securities Services), incorporated in the UK is authorised and regulated by the Financial Conduct Authority. </a:t>
            </a:r>
            <a:br>
              <a:rPr kumimoji="0" lang="en-US" sz="800" b="0" i="0" u="none" strike="noStrike" kern="1200" cap="none" spc="0" normalizeH="0" baseline="0" noProof="1">
                <a:ln>
                  <a:noFill/>
                </a:ln>
                <a:solidFill>
                  <a:srgbClr val="2F2F2F"/>
                </a:solidFill>
                <a:effectLst/>
                <a:uLnTx/>
                <a:uFillTx/>
                <a:latin typeface="Arial"/>
                <a:ea typeface="+mn-ea"/>
                <a:cs typeface="+mn-cs"/>
              </a:rPr>
            </a:br>
            <a:br>
              <a:rPr kumimoji="0" lang="en-US" sz="800" b="0" i="0" u="none" strike="noStrike" kern="1200" cap="none" spc="0" normalizeH="0" baseline="0" noProof="1">
                <a:ln>
                  <a:noFill/>
                </a:ln>
                <a:solidFill>
                  <a:srgbClr val="2F2F2F"/>
                </a:solidFill>
                <a:effectLst/>
                <a:uLnTx/>
                <a:uFillTx/>
                <a:latin typeface="Arial"/>
                <a:ea typeface="+mn-ea"/>
                <a:cs typeface="+mn-cs"/>
              </a:rPr>
            </a:br>
            <a:r>
              <a:rPr kumimoji="0" lang="en-US" sz="800" b="0" i="0" u="none" strike="noStrike" kern="1200" cap="none" spc="0" normalizeH="0" baseline="0" noProof="1">
                <a:ln>
                  <a:noFill/>
                </a:ln>
                <a:solidFill>
                  <a:srgbClr val="2F2F2F"/>
                </a:solidFill>
                <a:effectLst/>
                <a:uLnTx/>
                <a:uFillTx/>
                <a:latin typeface="Arial"/>
                <a:ea typeface="+mn-ea"/>
                <a:cs typeface="+mn-cs"/>
              </a:rPr>
              <a:t>In the U.S., BNP Paribas Securities Services is a business line of BNP Paribas which is incorporated in France with limited liability.  Services provided under this business line, including the services described in this document, if offered in the U.S., are offered through BNP Paribas, New York Branch (which is duly authorized and licensed by the State of New York Department of Financial Services); if a securities product, through BNP Paribas Securities Corp. or BNP Paribas Prime Brokerage, Inc., each of which is a broker-dealer registered with the Securities and Exchange Commission and a member of SIPC and the Financial Industry Regulatory Authority; or if a futures product through BNP Paribas Securities Corp., a Futures Commission Merchant registered with the Commodities Futures Trading Commission and a member of the National Futures Association</a:t>
            </a:r>
            <a:r>
              <a:rPr kumimoji="0" lang="en-US" sz="800" b="0" i="0" u="none" strike="noStrike" kern="1200" cap="none" spc="0" normalizeH="0" baseline="0" noProof="1">
                <a:ln>
                  <a:noFill/>
                </a:ln>
                <a:solidFill>
                  <a:srgbClr val="000000"/>
                </a:solidFill>
                <a:effectLst/>
                <a:uLnTx/>
                <a:uFillTx/>
                <a:latin typeface="Tms Rmn"/>
                <a:ea typeface="+mn-ea"/>
                <a:cs typeface="+mn-cs"/>
              </a:rPr>
              <a:t>.</a:t>
            </a:r>
            <a:endParaRPr kumimoji="0" lang="en-US" sz="800" b="0" i="0" u="none" strike="noStrike" kern="1200" cap="none" spc="0" normalizeH="0" baseline="0" noProof="1">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1592796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NP Paribas PPT Template">
  <a:themeElements>
    <a:clrScheme name="BNP New swatches">
      <a:dk1>
        <a:srgbClr val="000000"/>
      </a:dk1>
      <a:lt1>
        <a:srgbClr val="FFFFFF"/>
      </a:lt1>
      <a:dk2>
        <a:srgbClr val="00915A"/>
      </a:dk2>
      <a:lt2>
        <a:srgbClr val="78848A"/>
      </a:lt2>
      <a:accent1>
        <a:srgbClr val="64A05A"/>
      </a:accent1>
      <a:accent2>
        <a:srgbClr val="A0C873"/>
      </a:accent2>
      <a:accent3>
        <a:srgbClr val="D2DCAA"/>
      </a:accent3>
      <a:accent4>
        <a:srgbClr val="E6A01E"/>
      </a:accent4>
      <a:accent5>
        <a:srgbClr val="F0F050"/>
      </a:accent5>
      <a:accent6>
        <a:srgbClr val="4BC8DC"/>
      </a:accent6>
      <a:hlink>
        <a:srgbClr val="00915A"/>
      </a:hlink>
      <a:folHlink>
        <a:srgbClr val="E6A01E"/>
      </a:folHlink>
    </a:clrScheme>
    <a:fontScheme name="BNP Paribas PPT Theme Fonts">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CIBDocumentLibraryForm</Display>
  <Edit>CIBDocumentLibraryForm</Edit>
  <New>CIBDocumentLibraryForm</New>
</FormTemplates>
</file>

<file path=customXml/item2.xml><?xml version="1.0" encoding="utf-8"?>
<ct:contentTypeSchema xmlns:ct="http://schemas.microsoft.com/office/2006/metadata/contentType" xmlns:ma="http://schemas.microsoft.com/office/2006/metadata/properties/metaAttributes" ct:_="" ma:_="" ma:contentTypeName="CIB Document" ma:contentTypeID="0x01010077F5A1B8112CA2429DFD1B015B78E77A0037A36B3CE2A46F4C8BF2C75C5B7B44BE" ma:contentTypeVersion="46" ma:contentTypeDescription="CIB Content Types" ma:contentTypeScope="" ma:versionID="7f18204e10959ca8e558cb052f9c5328">
  <xsd:schema xmlns:xsd="http://www.w3.org/2001/XMLSchema" xmlns:xs="http://www.w3.org/2001/XMLSchema" xmlns:p="http://schemas.microsoft.com/office/2006/metadata/properties" xmlns:ns2="e0c26f53-462a-4177-8ad7-0a6252e10d9f" targetNamespace="http://schemas.microsoft.com/office/2006/metadata/properties" ma:root="true" ma:fieldsID="bff2f5989429aee76923880ac7cbd5b2" ns2:_="">
    <xsd:import namespace="e0c26f53-462a-4177-8ad7-0a6252e10d9f"/>
    <xsd:element name="properties">
      <xsd:complexType>
        <xsd:sequence>
          <xsd:element name="documentManagement">
            <xsd:complexType>
              <xsd:all>
                <xsd:element ref="ns2:CIBProvisionableArea" minOccurs="0"/>
                <xsd:element ref="ns2:CIBPortal" minOccurs="0"/>
                <xsd:element ref="ns2:CIBOwner" minOccurs="0"/>
                <xsd:element ref="ns2:CIBSecurityStatus"/>
                <xsd:element ref="ns2:h938e00f385946f980d3067cb6e8729e"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c26f53-462a-4177-8ad7-0a6252e10d9f" elementFormDefault="qualified">
    <xsd:import namespace="http://schemas.microsoft.com/office/2006/documentManagement/types"/>
    <xsd:import namespace="http://schemas.microsoft.com/office/infopath/2007/PartnerControls"/>
    <xsd:element name="CIBProvisionableArea" ma:index="8" nillable="true" ma:displayName="Provisionable Area" ma:description="Provisionable Area" ma:hidden="true" ma:internalName="CIBProvisionableArea">
      <xsd:simpleType>
        <xsd:restriction base="dms:Text"/>
      </xsd:simpleType>
    </xsd:element>
    <xsd:element name="CIBPortal" ma:index="9" nillable="true" ma:displayName="Portal" ma:description="Portal" ma:hidden="true" ma:internalName="CIBPortal">
      <xsd:simpleType>
        <xsd:restriction base="dms:Text"/>
      </xsd:simpleType>
    </xsd:element>
    <xsd:element name="CIBOwner" ma:index="10" nillable="true" ma:displayName="owner" ma:description="Send to many users" ma:SharePointGroup="0" ma:internalName="CIB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IBSecurityStatus" ma:index="11" ma:displayName="Information classification" ma:default="Public" ma:description="Security Status" ma:format="Dropdown" ma:internalName="CIBSecurityStatus" ma:readOnly="false">
      <xsd:simpleType>
        <xsd:restriction base="dms:Choice">
          <xsd:enumeration value="Public"/>
          <xsd:enumeration value="Internal"/>
        </xsd:restriction>
      </xsd:simpleType>
    </xsd:element>
    <xsd:element name="h938e00f385946f980d3067cb6e8729e" ma:index="12" nillable="true" ma:taxonomy="true" ma:internalName="h938e00f385946f980d3067cb6e8729e" ma:taxonomyFieldName="CIBTags" ma:displayName="Tags" ma:fieldId="{1938e00f-3859-46f9-80d3-067cb6e8729e}" ma:taxonomyMulti="true" ma:sspId="32f2e91a-fa03-4382-ac82-377cca0cde93" ma:termSetId="b2fddc7a-d210-4662-9359-9ab970aab655" ma:anchorId="00000000-0000-0000-0000-000000000000" ma:open="true" ma:isKeyword="false">
      <xsd:complexType>
        <xsd:sequence>
          <xsd:element ref="pc:Terms" minOccurs="0" maxOccurs="1"/>
        </xsd:sequence>
      </xsd:complexType>
    </xsd:element>
    <xsd:element name="TaxCatchAll" ma:index="13" nillable="true" ma:displayName="Taxonomy Catch All Column" ma:hidden="true" ma:list="{3cc2997f-fd00-4c4d-afaa-fa7832887d62}" ma:internalName="TaxCatchAll" ma:showField="CatchAllData" ma:web="7e449a83-4460-458b-b8d8-c07deb1abf2a">
      <xsd:complexType>
        <xsd:complexContent>
          <xsd:extension base="dms:MultiChoiceLookup">
            <xsd:sequence>
              <xsd:element name="Value" type="dms:Lookup" maxOccurs="unbounded" minOccurs="0" nillable="true"/>
            </xsd:sequence>
          </xsd:extension>
        </xsd:complexContent>
      </xsd:complexType>
    </xsd:element>
    <xsd:element name="TaxCatchAllLabel" ma:index="14" nillable="true" ma:displayName="Taxonomy Catch All Column1" ma:hidden="true" ma:list="{3cc2997f-fd00-4c4d-afaa-fa7832887d62}" ma:internalName="TaxCatchAllLabel" ma:readOnly="true" ma:showField="CatchAllDataLabel" ma:web="7e449a83-4460-458b-b8d8-c07deb1abf2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haredContentType xmlns="Microsoft.SharePoint.Taxonomy.ContentTypeSync" SourceId="32f2e91a-fa03-4382-ac82-377cca0cde93" ContentTypeId="0x01010077F5A1B8112CA2429DFD1B015B78E77A" PreviousValue="false"/>
</file>

<file path=customXml/item4.xml><?xml version="1.0" encoding="utf-8"?>
<?mso-contentType ?>
<spe:Receivers xmlns:spe="http://schemas.microsoft.com/sharepoint/events"/>
</file>

<file path=customXml/itemProps1.xml><?xml version="1.0" encoding="utf-8"?>
<ds:datastoreItem xmlns:ds="http://schemas.openxmlformats.org/officeDocument/2006/customXml" ds:itemID="{D5844A26-D69F-433A-8CDA-82659C3162D0}">
  <ds:schemaRefs>
    <ds:schemaRef ds:uri="http://schemas.microsoft.com/sharepoint/v3/contenttype/forms"/>
  </ds:schemaRefs>
</ds:datastoreItem>
</file>

<file path=customXml/itemProps2.xml><?xml version="1.0" encoding="utf-8"?>
<ds:datastoreItem xmlns:ds="http://schemas.openxmlformats.org/officeDocument/2006/customXml" ds:itemID="{1BCEB61E-8C18-4A27-8203-310F9ACED13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0c26f53-462a-4177-8ad7-0a6252e10d9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BD4431E-2188-4F95-BDAB-3221D7226D20}">
  <ds:schemaRefs>
    <ds:schemaRef ds:uri="Microsoft.SharePoint.Taxonomy.ContentTypeSync"/>
  </ds:schemaRefs>
</ds:datastoreItem>
</file>

<file path=customXml/itemProps4.xml><?xml version="1.0" encoding="utf-8"?>
<ds:datastoreItem xmlns:ds="http://schemas.openxmlformats.org/officeDocument/2006/customXml" ds:itemID="{04BC4D4B-48B0-4A1A-9AF0-37EA5C620AD6}">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otalTime>2983</TotalTime>
  <Words>199</Words>
  <Application>Microsoft Office PowerPoint</Application>
  <PresentationFormat>Personnalisé</PresentationFormat>
  <Paragraphs>68</Paragraphs>
  <Slides>5</Slides>
  <Notes>0</Notes>
  <HiddenSlides>0</HiddenSlides>
  <MMClips>0</MMClips>
  <ScaleCrop>false</ScaleCrop>
  <HeadingPairs>
    <vt:vector size="8" baseType="variant">
      <vt:variant>
        <vt:lpstr>Polices utilisées</vt:lpstr>
      </vt:variant>
      <vt:variant>
        <vt:i4>8</vt:i4>
      </vt:variant>
      <vt:variant>
        <vt:lpstr>Thème</vt:lpstr>
      </vt:variant>
      <vt:variant>
        <vt:i4>1</vt:i4>
      </vt:variant>
      <vt:variant>
        <vt:lpstr>Serveurs OLE incorporés</vt:lpstr>
      </vt:variant>
      <vt:variant>
        <vt:i4>1</vt:i4>
      </vt:variant>
      <vt:variant>
        <vt:lpstr>Titres des diapositives</vt:lpstr>
      </vt:variant>
      <vt:variant>
        <vt:i4>5</vt:i4>
      </vt:variant>
    </vt:vector>
  </HeadingPairs>
  <TitlesOfParts>
    <vt:vector size="15" baseType="lpstr">
      <vt:lpstr>Arial</vt:lpstr>
      <vt:lpstr>Arial Narrow</vt:lpstr>
      <vt:lpstr>Calibri</vt:lpstr>
      <vt:lpstr>PMingLiU</vt:lpstr>
      <vt:lpstr>Times New Roman</vt:lpstr>
      <vt:lpstr>Tms Rmn</vt:lpstr>
      <vt:lpstr>Wingdings</vt:lpstr>
      <vt:lpstr>ヒラギノ角ゴ Pro W3</vt:lpstr>
      <vt:lpstr>BNP Paribas PPT Template</vt:lpstr>
      <vt:lpstr>think-cell Slide</vt:lpstr>
      <vt:lpstr>Issuing and holding securities in a blockchain</vt:lpstr>
      <vt:lpstr>Issuance in CSD and holding in securities accounts</vt:lpstr>
      <vt:lpstr>Issuance and holding in distributed ledger</vt:lpstr>
      <vt:lpstr>Immediate advantages</vt:lpstr>
      <vt:lpstr>Présentation PowerPoint</vt:lpstr>
    </vt:vector>
  </TitlesOfParts>
  <Company>BNP Pariba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an DEMELLWEEK</dc:creator>
  <cp:lastModifiedBy>Thiebald Cremers</cp:lastModifiedBy>
  <cp:revision>212</cp:revision>
  <dcterms:created xsi:type="dcterms:W3CDTF">2015-04-16T14:16:33Z</dcterms:created>
  <dcterms:modified xsi:type="dcterms:W3CDTF">2017-05-02T14:58: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7F5A1B8112CA2429DFD1B015B78E77A0037A36B3CE2A46F4C8BF2C75C5B7B44BE</vt:lpwstr>
  </property>
  <property fmtid="{D5CDD505-2E9C-101B-9397-08002B2CF9AE}" pid="3" name="_dlc_policyId">
    <vt:lpwstr>/bcq/brand-advertising/2015 branding platform</vt:lpwstr>
  </property>
  <property fmtid="{D5CDD505-2E9C-101B-9397-08002B2CF9AE}" pid="4" name="_dlc_ExpireDate">
    <vt:filetime>2022-06-05T12:00:31Z</vt:filetime>
  </property>
  <property fmtid="{D5CDD505-2E9C-101B-9397-08002B2CF9AE}" pid="5" name="ItemRetentionFormula">
    <vt:lpwstr>&lt;formula id="Microsoft.Office.RecordsManagement.PolicyFeatures.Expiration.Formula.BuiltIn"&gt;&lt;number&gt;7&lt;/number&gt;&lt;property&gt;Modified&lt;/property&gt;&lt;period&gt;years&lt;/period&gt;&lt;/formula&gt;</vt:lpwstr>
  </property>
</Properties>
</file>